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4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5.xml" ContentType="application/vnd.openxmlformats-officedocument.theme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theme/theme7.xml" ContentType="application/vnd.openxmlformats-officedocument.theme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theme/theme8.xml" ContentType="application/vnd.openxmlformats-officedocument.theme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theme/theme9.xml" ContentType="application/vnd.openxmlformats-officedocument.theme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theme/theme10.xml" ContentType="application/vnd.openxmlformats-officedocument.theme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theme/theme11.xml" ContentType="application/vnd.openxmlformats-officedocument.theme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theme/theme12.xml" ContentType="application/vnd.openxmlformats-officedocument.theme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theme/theme13.xml" ContentType="application/vnd.openxmlformats-officedocument.theme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theme/theme14.xml" ContentType="application/vnd.openxmlformats-officedocument.theme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theme/theme15.xml" ContentType="application/vnd.openxmlformats-officedocument.theme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theme/theme16.xml" ContentType="application/vnd.openxmlformats-officedocument.theme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theme/theme17.xml" ContentType="application/vnd.openxmlformats-officedocument.theme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theme/theme18.xml" ContentType="application/vnd.openxmlformats-officedocument.theme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theme/theme19.xml" ContentType="application/vnd.openxmlformats-officedocument.theme+xml"/>
  <Override PartName="/ppt/theme/theme2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36" r:id="rId4"/>
    <p:sldMasterId id="2147483678" r:id="rId5"/>
    <p:sldMasterId id="2147483695" r:id="rId6"/>
    <p:sldMasterId id="2147483710" r:id="rId7"/>
    <p:sldMasterId id="2147483777" r:id="rId8"/>
    <p:sldMasterId id="2147483834" r:id="rId9"/>
    <p:sldMasterId id="2147483854" r:id="rId10"/>
    <p:sldMasterId id="2147483911" r:id="rId11"/>
    <p:sldMasterId id="2147483969" r:id="rId12"/>
    <p:sldMasterId id="2147483655" r:id="rId13"/>
    <p:sldMasterId id="2147484046" r:id="rId14"/>
    <p:sldMasterId id="2147484115" r:id="rId15"/>
    <p:sldMasterId id="2147484179" r:id="rId16"/>
    <p:sldMasterId id="2147484201" r:id="rId17"/>
    <p:sldMasterId id="2147484266" r:id="rId18"/>
    <p:sldMasterId id="2147484402" r:id="rId19"/>
    <p:sldMasterId id="2147484426" r:id="rId20"/>
    <p:sldMasterId id="2147484567" r:id="rId21"/>
    <p:sldMasterId id="2147484591" r:id="rId22"/>
  </p:sldMasterIdLst>
  <p:notesMasterIdLst>
    <p:notesMasterId r:id="rId32"/>
  </p:notesMasterIdLst>
  <p:sldIdLst>
    <p:sldId id="389" r:id="rId23"/>
    <p:sldId id="2147472824" r:id="rId24"/>
    <p:sldId id="264" r:id="rId25"/>
    <p:sldId id="2147472633" r:id="rId26"/>
    <p:sldId id="2147375797" r:id="rId27"/>
    <p:sldId id="2147472898" r:id="rId28"/>
    <p:sldId id="2147472657" r:id="rId29"/>
    <p:sldId id="2147472895" r:id="rId30"/>
    <p:sldId id="2147472658" r:id="rId31"/>
  </p:sldIdLst>
  <p:sldSz cx="12192000" cy="6858000"/>
  <p:notesSz cx="6858000" cy="91440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FE983A1-1637-E464-95AB-7C5981792002}" name="Roberto Santizo" initials="RS" userId="S::roberto.santizo@ogilvy.com::c0e3c8c2-05f5-423a-aff6-f8f99888690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03864"/>
    <a:srgbClr val="D9D9D9"/>
    <a:srgbClr val="F8D468"/>
    <a:srgbClr val="E8817C"/>
    <a:srgbClr val="00BCFF"/>
    <a:srgbClr val="5995F7"/>
    <a:srgbClr val="D8CFCE"/>
    <a:srgbClr val="009569"/>
    <a:srgbClr val="404E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73"/>
  </p:normalViewPr>
  <p:slideViewPr>
    <p:cSldViewPr snapToGrid="0">
      <p:cViewPr>
        <p:scale>
          <a:sx n="147" d="100"/>
          <a:sy n="147" d="100"/>
        </p:scale>
        <p:origin x="144" y="-14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4.xml"/><Relationship Id="rId21" Type="http://schemas.openxmlformats.org/officeDocument/2006/relationships/slideMaster" Target="slideMasters/slideMaster18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3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7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2.xml"/><Relationship Id="rId32" Type="http://schemas.openxmlformats.org/officeDocument/2006/relationships/notesMaster" Target="notesMasters/notesMaster1.xml"/><Relationship Id="rId37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824226071612338E-2"/>
          <c:y val="0.16385747411808013"/>
          <c:w val="0.92035154785677531"/>
          <c:h val="0.52163886262727921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rgbClr val="FBBC4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C$1</c:f>
              <c:strCache>
                <c:ptCount val="2"/>
                <c:pt idx="0">
                  <c:v>QG5</c:v>
                </c:pt>
                <c:pt idx="1">
                  <c:v>METAMUCIL</c:v>
                </c:pt>
              </c:strCache>
            </c:strRef>
          </c:cat>
          <c:val>
            <c:numRef>
              <c:f>Hoja1!$B$2:$C$2</c:f>
              <c:numCache>
                <c:formatCode>0%</c:formatCode>
                <c:ptCount val="2"/>
                <c:pt idx="0">
                  <c:v>1</c:v>
                </c:pt>
                <c:pt idx="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7E-459F-B1B5-488521A8D116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C$1</c:f>
              <c:strCache>
                <c:ptCount val="2"/>
                <c:pt idx="0">
                  <c:v>QG5</c:v>
                </c:pt>
                <c:pt idx="1">
                  <c:v>METAMUCIL</c:v>
                </c:pt>
              </c:strCache>
            </c:strRef>
          </c:cat>
          <c:val>
            <c:numRef>
              <c:f>Hoja1!$B$3:$C$3</c:f>
              <c:numCache>
                <c:formatCode>0%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07E-459F-B1B5-488521A8D116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:$C$1</c:f>
              <c:strCache>
                <c:ptCount val="2"/>
                <c:pt idx="0">
                  <c:v>QG5</c:v>
                </c:pt>
                <c:pt idx="1">
                  <c:v>METAMUCIL</c:v>
                </c:pt>
              </c:strCache>
            </c:strRef>
          </c:cat>
          <c:val>
            <c:numRef>
              <c:f>Hoja1!$B$4:$C$4</c:f>
              <c:numCache>
                <c:formatCode>0%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07E-459F-B1B5-488521A8D116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Impresos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:$C$1</c:f>
              <c:strCache>
                <c:ptCount val="2"/>
                <c:pt idx="0">
                  <c:v>QG5</c:v>
                </c:pt>
                <c:pt idx="1">
                  <c:v>METAMUCIL</c:v>
                </c:pt>
              </c:strCache>
            </c:strRef>
          </c:cat>
          <c:val>
            <c:numRef>
              <c:f>Hoja1!$B$5:$C$5</c:f>
              <c:numCache>
                <c:formatCode>0%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07E-459F-B1B5-488521A8D116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Hoja1!$B$1:$C$1</c:f>
              <c:strCache>
                <c:ptCount val="2"/>
                <c:pt idx="0">
                  <c:v>QG5</c:v>
                </c:pt>
                <c:pt idx="1">
                  <c:v>METAMUCIL</c:v>
                </c:pt>
              </c:strCache>
            </c:strRef>
          </c:cat>
          <c:val>
            <c:numRef>
              <c:f>Hoja1!$B$6:$C$6</c:f>
              <c:numCache>
                <c:formatCode>0%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07E-459F-B1B5-488521A8D1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06507232"/>
        <c:axId val="506515136"/>
      </c:barChart>
      <c:catAx>
        <c:axId val="506507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06515136"/>
        <c:crosses val="autoZero"/>
        <c:auto val="1"/>
        <c:lblAlgn val="ctr"/>
        <c:lblOffset val="100"/>
        <c:noMultiLvlLbl val="0"/>
      </c:catAx>
      <c:valAx>
        <c:axId val="50651513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06507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es-H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QG5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Hoja1!$B$1:$M$1</c:f>
              <c:strCache>
                <c:ptCount val="12"/>
                <c:pt idx="0">
                  <c:v>Ene'22</c:v>
                </c:pt>
                <c:pt idx="1">
                  <c:v>Feb'22</c:v>
                </c:pt>
                <c:pt idx="2">
                  <c:v>Mar'22</c:v>
                </c:pt>
                <c:pt idx="3">
                  <c:v>Abr'22</c:v>
                </c:pt>
                <c:pt idx="4">
                  <c:v>May'22</c:v>
                </c:pt>
                <c:pt idx="5">
                  <c:v>Jun'22</c:v>
                </c:pt>
                <c:pt idx="6">
                  <c:v>Jul'22</c:v>
                </c:pt>
                <c:pt idx="7">
                  <c:v>Ago'22</c:v>
                </c:pt>
                <c:pt idx="8">
                  <c:v>Sep'22</c:v>
                </c:pt>
                <c:pt idx="9">
                  <c:v>Oct'22</c:v>
                </c:pt>
                <c:pt idx="10">
                  <c:v>Nov'22</c:v>
                </c:pt>
                <c:pt idx="11">
                  <c:v>Dic'22</c:v>
                </c:pt>
              </c:strCache>
            </c:strRef>
          </c:cat>
          <c:val>
            <c:numRef>
              <c:f>Hoja1!$B$2:$M$2</c:f>
              <c:numCache>
                <c:formatCode>_-* #,##0_-;\-* #,##0_-;_-* "-"??_-;_-@_-</c:formatCode>
                <c:ptCount val="12"/>
                <c:pt idx="0">
                  <c:v>92648.346994535677</c:v>
                </c:pt>
                <c:pt idx="1">
                  <c:v>103888.55189049424</c:v>
                </c:pt>
                <c:pt idx="2">
                  <c:v>98402.763834562822</c:v>
                </c:pt>
                <c:pt idx="3">
                  <c:v>34143.029928931202</c:v>
                </c:pt>
                <c:pt idx="4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D13-0F43-8B37-2112DAFDB03D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METAMUCIL</c:v>
                </c:pt>
              </c:strCache>
            </c:strRef>
          </c:tx>
          <c:spPr>
            <a:ln w="28575" cap="rnd">
              <a:solidFill>
                <a:srgbClr val="FD4D8B"/>
              </a:solidFill>
              <a:round/>
            </a:ln>
            <a:effectLst/>
          </c:spPr>
          <c:marker>
            <c:symbol val="none"/>
          </c:marker>
          <c:cat>
            <c:strRef>
              <c:f>Hoja1!$B$1:$M$1</c:f>
              <c:strCache>
                <c:ptCount val="12"/>
                <c:pt idx="0">
                  <c:v>Ene'22</c:v>
                </c:pt>
                <c:pt idx="1">
                  <c:v>Feb'22</c:v>
                </c:pt>
                <c:pt idx="2">
                  <c:v>Mar'22</c:v>
                </c:pt>
                <c:pt idx="3">
                  <c:v>Abr'22</c:v>
                </c:pt>
                <c:pt idx="4">
                  <c:v>May'22</c:v>
                </c:pt>
                <c:pt idx="5">
                  <c:v>Jun'22</c:v>
                </c:pt>
                <c:pt idx="6">
                  <c:v>Jul'22</c:v>
                </c:pt>
                <c:pt idx="7">
                  <c:v>Ago'22</c:v>
                </c:pt>
                <c:pt idx="8">
                  <c:v>Sep'22</c:v>
                </c:pt>
                <c:pt idx="9">
                  <c:v>Oct'22</c:v>
                </c:pt>
                <c:pt idx="10">
                  <c:v>Nov'22</c:v>
                </c:pt>
                <c:pt idx="11">
                  <c:v>Dic'22</c:v>
                </c:pt>
              </c:strCache>
            </c:strRef>
          </c:cat>
          <c:val>
            <c:numRef>
              <c:f>Hoja1!$B$3:$M$3</c:f>
              <c:numCache>
                <c:formatCode>_-* #,##0_-;\-* #,##0_-;_-* "-"??_-;_-@_-</c:formatCode>
                <c:ptCount val="12"/>
                <c:pt idx="3">
                  <c:v>0</c:v>
                </c:pt>
                <c:pt idx="4">
                  <c:v>12097.266087298256</c:v>
                </c:pt>
                <c:pt idx="5">
                  <c:v>11054.550869867944</c:v>
                </c:pt>
                <c:pt idx="6" formatCode="General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D13-0F43-8B37-2112DAFDB0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77084976"/>
        <c:axId val="1071257520"/>
      </c:lineChart>
      <c:catAx>
        <c:axId val="1077084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1071257520"/>
        <c:crosses val="autoZero"/>
        <c:auto val="1"/>
        <c:lblAlgn val="ctr"/>
        <c:lblOffset val="100"/>
        <c:noMultiLvlLbl val="0"/>
      </c:catAx>
      <c:valAx>
        <c:axId val="1071257520"/>
        <c:scaling>
          <c:orientation val="minMax"/>
        </c:scaling>
        <c:delete val="1"/>
        <c:axPos val="l"/>
        <c:numFmt formatCode="_-* #,##0_-;\-* #,##0_-;_-* &quot;-&quot;??_-;_-@_-" sourceLinked="1"/>
        <c:majorTickMark val="none"/>
        <c:minorTickMark val="none"/>
        <c:tickLblPos val="nextTo"/>
        <c:crossAx val="10770849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es-H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QG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SOI</c:v>
                </c:pt>
                <c:pt idx="1">
                  <c:v>SOV</c:v>
                </c:pt>
                <c:pt idx="2">
                  <c:v>SOI </c:v>
                </c:pt>
                <c:pt idx="3">
                  <c:v>SOV </c:v>
                </c:pt>
              </c:strCache>
            </c:strRef>
          </c:cat>
          <c:val>
            <c:numRef>
              <c:f>Hoja1!$B$2:$E$2</c:f>
              <c:numCache>
                <c:formatCode>0%</c:formatCode>
                <c:ptCount val="4"/>
                <c:pt idx="0">
                  <c:v>0.93</c:v>
                </c:pt>
                <c:pt idx="1">
                  <c:v>0.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9DB-6145-AB91-A011BC9C141B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METAMUCIL</c:v>
                </c:pt>
              </c:strCache>
            </c:strRef>
          </c:tx>
          <c:spPr>
            <a:solidFill>
              <a:srgbClr val="FD4D8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SOI</c:v>
                </c:pt>
                <c:pt idx="1">
                  <c:v>SOV</c:v>
                </c:pt>
                <c:pt idx="2">
                  <c:v>SOI </c:v>
                </c:pt>
                <c:pt idx="3">
                  <c:v>SOV </c:v>
                </c:pt>
              </c:strCache>
            </c:strRef>
          </c:cat>
          <c:val>
            <c:numRef>
              <c:f>Hoja1!$B$3:$E$3</c:f>
              <c:numCache>
                <c:formatCode>0%</c:formatCode>
                <c:ptCount val="4"/>
                <c:pt idx="0">
                  <c:v>7.0000000000000007E-2</c:v>
                </c:pt>
                <c:pt idx="1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9DB-6145-AB91-A011BC9C14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506507232"/>
        <c:axId val="506515136"/>
      </c:barChart>
      <c:catAx>
        <c:axId val="506507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06515136"/>
        <c:crosses val="autoZero"/>
        <c:auto val="1"/>
        <c:lblAlgn val="ctr"/>
        <c:lblOffset val="100"/>
        <c:noMultiLvlLbl val="0"/>
      </c:catAx>
      <c:valAx>
        <c:axId val="506515136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506507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es-H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E148BC9-A4F1-4635-9E59-46BA9860259E}" type="doc">
      <dgm:prSet loTypeId="urn:microsoft.com/office/officeart/2005/8/layout/pyramid3" loCatId="pyramid" qsTypeId="urn:microsoft.com/office/officeart/2005/8/quickstyle/simple1" qsCatId="simple" csTypeId="urn:microsoft.com/office/officeart/2005/8/colors/accent1_3" csCatId="accent1" phldr="1"/>
      <dgm:spPr/>
    </dgm:pt>
    <dgm:pt modelId="{3FEA84E8-F00D-44F7-9CFA-80ECAEFDCB49}">
      <dgm:prSet phldrT="[Text]" custT="1"/>
      <dgm:spPr>
        <a:xfrm rot="10800000">
          <a:off x="0" y="0"/>
          <a:ext cx="4161575" cy="1690411"/>
        </a:xfrm>
        <a:prstGeom prst="trapezoid">
          <a:avLst>
            <a:gd name="adj" fmla="val 41031"/>
          </a:avLst>
        </a:prstGeom>
      </dgm:spPr>
      <dgm:t>
        <a:bodyPr/>
        <a:lstStyle/>
        <a:p>
          <a:pPr>
            <a:buNone/>
          </a:pPr>
          <a:r>
            <a:rPr lang="en-GB" sz="1400" b="1">
              <a:latin typeface="+mn-lt"/>
              <a:ea typeface="+mn-ea"/>
              <a:cs typeface="+mn-cs"/>
            </a:rPr>
            <a:t>AWARENESS</a:t>
          </a:r>
        </a:p>
        <a:p>
          <a:pPr>
            <a:buNone/>
          </a:pPr>
          <a:r>
            <a:rPr lang="en-GB" sz="1400" b="1">
              <a:latin typeface="+mn-lt"/>
              <a:ea typeface="+mn-ea"/>
              <a:cs typeface="+mn-cs"/>
            </a:rPr>
            <a:t>80%</a:t>
          </a:r>
          <a:endParaRPr lang="en-GB" sz="1400" b="1" dirty="0">
            <a:latin typeface="+mn-lt"/>
            <a:ea typeface="+mn-ea"/>
            <a:cs typeface="+mn-cs"/>
          </a:endParaRPr>
        </a:p>
      </dgm:t>
    </dgm:pt>
    <dgm:pt modelId="{2CE1DF6F-BD1E-418A-90BD-DA98FD2DECAA}" type="parTrans" cxnId="{9C8DBC76-5CC9-48A1-98B3-16D409003696}">
      <dgm:prSet/>
      <dgm:spPr/>
      <dgm:t>
        <a:bodyPr/>
        <a:lstStyle/>
        <a:p>
          <a:endParaRPr lang="en-GB" sz="1400" b="1">
            <a:solidFill>
              <a:schemeClr val="tx1"/>
            </a:solidFill>
            <a:latin typeface="Amasis MT Pro Black" panose="02040A04050005020304" pitchFamily="18" charset="0"/>
          </a:endParaRPr>
        </a:p>
      </dgm:t>
    </dgm:pt>
    <dgm:pt modelId="{8A3350A4-38A7-4096-B4D1-A4F80E9B0AC7}" type="sibTrans" cxnId="{9C8DBC76-5CC9-48A1-98B3-16D409003696}">
      <dgm:prSet/>
      <dgm:spPr/>
      <dgm:t>
        <a:bodyPr/>
        <a:lstStyle/>
        <a:p>
          <a:endParaRPr lang="en-GB" sz="1400" b="1">
            <a:solidFill>
              <a:schemeClr val="tx1"/>
            </a:solidFill>
            <a:latin typeface="Amasis MT Pro Black" panose="02040A04050005020304" pitchFamily="18" charset="0"/>
          </a:endParaRPr>
        </a:p>
      </dgm:t>
    </dgm:pt>
    <dgm:pt modelId="{998B8C8F-2E39-4735-99C3-F81D953BD5C8}">
      <dgm:prSet phldrT="[Text]" custT="1"/>
      <dgm:spPr>
        <a:xfrm rot="10800000">
          <a:off x="693595" y="1690411"/>
          <a:ext cx="2774383" cy="1690411"/>
        </a:xfrm>
        <a:prstGeom prst="trapezoid">
          <a:avLst>
            <a:gd name="adj" fmla="val 41031"/>
          </a:avLst>
        </a:prstGeom>
      </dgm:spPr>
      <dgm:t>
        <a:bodyPr/>
        <a:lstStyle/>
        <a:p>
          <a:pPr>
            <a:buNone/>
          </a:pPr>
          <a:r>
            <a:rPr lang="en-GB" sz="800" b="1">
              <a:latin typeface="+mn-lt"/>
              <a:ea typeface="+mn-ea"/>
              <a:cs typeface="+mn-cs"/>
            </a:rPr>
            <a:t>CONSIDERATION</a:t>
          </a:r>
        </a:p>
        <a:p>
          <a:pPr>
            <a:buNone/>
          </a:pPr>
          <a:r>
            <a:rPr lang="en-GB" sz="1400" b="1">
              <a:latin typeface="+mn-lt"/>
              <a:ea typeface="+mn-ea"/>
              <a:cs typeface="+mn-cs"/>
            </a:rPr>
            <a:t>20%</a:t>
          </a:r>
          <a:endParaRPr lang="en-GB" sz="1400" b="1" dirty="0">
            <a:latin typeface="+mn-lt"/>
            <a:ea typeface="+mn-ea"/>
            <a:cs typeface="+mn-cs"/>
          </a:endParaRPr>
        </a:p>
      </dgm:t>
    </dgm:pt>
    <dgm:pt modelId="{39F7917F-2D3D-43C9-8480-DE306DEAA6C6}" type="parTrans" cxnId="{972A967F-4208-4CE5-9EF9-6D245D020888}">
      <dgm:prSet/>
      <dgm:spPr/>
      <dgm:t>
        <a:bodyPr/>
        <a:lstStyle/>
        <a:p>
          <a:endParaRPr lang="en-GB" sz="1400" b="1">
            <a:solidFill>
              <a:schemeClr val="tx1"/>
            </a:solidFill>
            <a:latin typeface="Amasis MT Pro Black" panose="02040A04050005020304" pitchFamily="18" charset="0"/>
          </a:endParaRPr>
        </a:p>
      </dgm:t>
    </dgm:pt>
    <dgm:pt modelId="{5BC552A0-6D75-4D98-ABB5-F10843B90964}" type="sibTrans" cxnId="{972A967F-4208-4CE5-9EF9-6D245D020888}">
      <dgm:prSet/>
      <dgm:spPr/>
      <dgm:t>
        <a:bodyPr/>
        <a:lstStyle/>
        <a:p>
          <a:endParaRPr lang="en-GB" sz="1400" b="1">
            <a:solidFill>
              <a:schemeClr val="tx1"/>
            </a:solidFill>
            <a:latin typeface="Amasis MT Pro Black" panose="02040A04050005020304" pitchFamily="18" charset="0"/>
          </a:endParaRPr>
        </a:p>
      </dgm:t>
    </dgm:pt>
    <dgm:pt modelId="{CD4418E0-390C-4DC4-8B58-1DE925CECE36}">
      <dgm:prSet phldrT="[Text]" custT="1"/>
      <dgm:spPr>
        <a:xfrm rot="10800000">
          <a:off x="1387191" y="3380823"/>
          <a:ext cx="1387191" cy="1690411"/>
        </a:xfrm>
        <a:prstGeom prst="trapezoid">
          <a:avLst>
            <a:gd name="adj" fmla="val 50000"/>
          </a:avLst>
        </a:prstGeom>
      </dgm:spPr>
      <dgm:t>
        <a:bodyPr/>
        <a:lstStyle/>
        <a:p>
          <a:pPr>
            <a:buNone/>
          </a:pPr>
          <a:r>
            <a:rPr lang="en-GB" sz="800" b="1">
              <a:latin typeface="+mn-lt"/>
              <a:ea typeface="+mn-ea"/>
              <a:cs typeface="+mn-cs"/>
            </a:rPr>
            <a:t>ACTION</a:t>
          </a:r>
        </a:p>
        <a:p>
          <a:pPr>
            <a:buNone/>
          </a:pPr>
          <a:r>
            <a:rPr lang="en-GB" sz="1400" b="1">
              <a:latin typeface="Amasis MT Pro Black" panose="02040A04050005020304" pitchFamily="18" charset="0"/>
              <a:ea typeface="+mn-ea"/>
              <a:cs typeface="+mn-cs"/>
            </a:rPr>
            <a:t>0%</a:t>
          </a:r>
          <a:endParaRPr lang="en-GB" sz="1400" b="1" dirty="0">
            <a:latin typeface="Amasis MT Pro Black" panose="02040A04050005020304" pitchFamily="18" charset="0"/>
            <a:ea typeface="+mn-ea"/>
            <a:cs typeface="+mn-cs"/>
          </a:endParaRPr>
        </a:p>
      </dgm:t>
    </dgm:pt>
    <dgm:pt modelId="{B7233CE3-E513-482D-B187-4B31D19C5A25}" type="sibTrans" cxnId="{065E688C-4ADC-43D3-984C-36829CD8ABFD}">
      <dgm:prSet/>
      <dgm:spPr/>
      <dgm:t>
        <a:bodyPr/>
        <a:lstStyle/>
        <a:p>
          <a:endParaRPr lang="en-GB" sz="1400" b="1">
            <a:solidFill>
              <a:schemeClr val="tx1"/>
            </a:solidFill>
            <a:latin typeface="Amasis MT Pro Black" panose="02040A04050005020304" pitchFamily="18" charset="0"/>
          </a:endParaRPr>
        </a:p>
      </dgm:t>
    </dgm:pt>
    <dgm:pt modelId="{500911CD-C8FF-4F65-948B-41462153FB0C}" type="parTrans" cxnId="{065E688C-4ADC-43D3-984C-36829CD8ABFD}">
      <dgm:prSet/>
      <dgm:spPr/>
      <dgm:t>
        <a:bodyPr/>
        <a:lstStyle/>
        <a:p>
          <a:endParaRPr lang="en-GB" sz="1400" b="1">
            <a:solidFill>
              <a:schemeClr val="tx1"/>
            </a:solidFill>
            <a:latin typeface="Amasis MT Pro Black" panose="02040A04050005020304" pitchFamily="18" charset="0"/>
          </a:endParaRPr>
        </a:p>
      </dgm:t>
    </dgm:pt>
    <dgm:pt modelId="{842B9222-0487-4157-8215-CCDB10A1C3A3}" type="pres">
      <dgm:prSet presAssocID="{3E148BC9-A4F1-4635-9E59-46BA9860259E}" presName="Name0" presStyleCnt="0">
        <dgm:presLayoutVars>
          <dgm:dir/>
          <dgm:animLvl val="lvl"/>
          <dgm:resizeHandles val="exact"/>
        </dgm:presLayoutVars>
      </dgm:prSet>
      <dgm:spPr/>
    </dgm:pt>
    <dgm:pt modelId="{517DB7D6-DBF7-4939-9C0A-FF1E4E9D4607}" type="pres">
      <dgm:prSet presAssocID="{3FEA84E8-F00D-44F7-9CFA-80ECAEFDCB49}" presName="Name8" presStyleCnt="0"/>
      <dgm:spPr/>
    </dgm:pt>
    <dgm:pt modelId="{DBB27EB3-CD74-4599-A1A3-0C1C56C3B2FB}" type="pres">
      <dgm:prSet presAssocID="{3FEA84E8-F00D-44F7-9CFA-80ECAEFDCB49}" presName="level" presStyleLbl="node1" presStyleIdx="0" presStyleCnt="3" custLinFactNeighborX="213">
        <dgm:presLayoutVars>
          <dgm:chMax val="1"/>
          <dgm:bulletEnabled val="1"/>
        </dgm:presLayoutVars>
      </dgm:prSet>
      <dgm:spPr/>
    </dgm:pt>
    <dgm:pt modelId="{63317AD1-AEC3-4E69-BBE5-47BFC4E6866D}" type="pres">
      <dgm:prSet presAssocID="{3FEA84E8-F00D-44F7-9CFA-80ECAEFDCB49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13B4C781-A08B-4871-8C45-CA543839AD7A}" type="pres">
      <dgm:prSet presAssocID="{998B8C8F-2E39-4735-99C3-F81D953BD5C8}" presName="Name8" presStyleCnt="0"/>
      <dgm:spPr/>
    </dgm:pt>
    <dgm:pt modelId="{A45BF08A-341D-47C9-8C7A-B11E22F807EF}" type="pres">
      <dgm:prSet presAssocID="{998B8C8F-2E39-4735-99C3-F81D953BD5C8}" presName="level" presStyleLbl="node1" presStyleIdx="1" presStyleCnt="3">
        <dgm:presLayoutVars>
          <dgm:chMax val="1"/>
          <dgm:bulletEnabled val="1"/>
        </dgm:presLayoutVars>
      </dgm:prSet>
      <dgm:spPr/>
    </dgm:pt>
    <dgm:pt modelId="{D4344D21-A276-422D-BC4A-33E02314C627}" type="pres">
      <dgm:prSet presAssocID="{998B8C8F-2E39-4735-99C3-F81D953BD5C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0343472-AFD8-41BE-B6CB-8CBA9909508F}" type="pres">
      <dgm:prSet presAssocID="{CD4418E0-390C-4DC4-8B58-1DE925CECE36}" presName="Name8" presStyleCnt="0"/>
      <dgm:spPr/>
    </dgm:pt>
    <dgm:pt modelId="{64D819AC-9A22-47F4-A8DF-E17B55841C8E}" type="pres">
      <dgm:prSet presAssocID="{CD4418E0-390C-4DC4-8B58-1DE925CECE36}" presName="level" presStyleLbl="node1" presStyleIdx="2" presStyleCnt="3">
        <dgm:presLayoutVars>
          <dgm:chMax val="1"/>
          <dgm:bulletEnabled val="1"/>
        </dgm:presLayoutVars>
      </dgm:prSet>
      <dgm:spPr/>
    </dgm:pt>
    <dgm:pt modelId="{E9BBE4DB-1976-4EAD-A867-66925C9756CD}" type="pres">
      <dgm:prSet presAssocID="{CD4418E0-390C-4DC4-8B58-1DE925CECE36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C8D8DB1A-42B2-4BCF-8669-A92D575A2F06}" type="presOf" srcId="{CD4418E0-390C-4DC4-8B58-1DE925CECE36}" destId="{64D819AC-9A22-47F4-A8DF-E17B55841C8E}" srcOrd="0" destOrd="0" presId="urn:microsoft.com/office/officeart/2005/8/layout/pyramid3"/>
    <dgm:cxn modelId="{1783595D-424D-4687-9D63-B65E818965EC}" type="presOf" srcId="{3E148BC9-A4F1-4635-9E59-46BA9860259E}" destId="{842B9222-0487-4157-8215-CCDB10A1C3A3}" srcOrd="0" destOrd="0" presId="urn:microsoft.com/office/officeart/2005/8/layout/pyramid3"/>
    <dgm:cxn modelId="{D9A0E071-2A0D-42A1-9A44-AE8AB81FB628}" type="presOf" srcId="{3FEA84E8-F00D-44F7-9CFA-80ECAEFDCB49}" destId="{63317AD1-AEC3-4E69-BBE5-47BFC4E6866D}" srcOrd="1" destOrd="0" presId="urn:microsoft.com/office/officeart/2005/8/layout/pyramid3"/>
    <dgm:cxn modelId="{9C8DBC76-5CC9-48A1-98B3-16D409003696}" srcId="{3E148BC9-A4F1-4635-9E59-46BA9860259E}" destId="{3FEA84E8-F00D-44F7-9CFA-80ECAEFDCB49}" srcOrd="0" destOrd="0" parTransId="{2CE1DF6F-BD1E-418A-90BD-DA98FD2DECAA}" sibTransId="{8A3350A4-38A7-4096-B4D1-A4F80E9B0AC7}"/>
    <dgm:cxn modelId="{5722E278-B274-4E1C-9F2C-7E7C438FF62D}" type="presOf" srcId="{998B8C8F-2E39-4735-99C3-F81D953BD5C8}" destId="{D4344D21-A276-422D-BC4A-33E02314C627}" srcOrd="1" destOrd="0" presId="urn:microsoft.com/office/officeart/2005/8/layout/pyramid3"/>
    <dgm:cxn modelId="{B533857B-A236-45E8-843F-7C669CA519A0}" type="presOf" srcId="{998B8C8F-2E39-4735-99C3-F81D953BD5C8}" destId="{A45BF08A-341D-47C9-8C7A-B11E22F807EF}" srcOrd="0" destOrd="0" presId="urn:microsoft.com/office/officeart/2005/8/layout/pyramid3"/>
    <dgm:cxn modelId="{972A967F-4208-4CE5-9EF9-6D245D020888}" srcId="{3E148BC9-A4F1-4635-9E59-46BA9860259E}" destId="{998B8C8F-2E39-4735-99C3-F81D953BD5C8}" srcOrd="1" destOrd="0" parTransId="{39F7917F-2D3D-43C9-8480-DE306DEAA6C6}" sibTransId="{5BC552A0-6D75-4D98-ABB5-F10843B90964}"/>
    <dgm:cxn modelId="{065E688C-4ADC-43D3-984C-36829CD8ABFD}" srcId="{3E148BC9-A4F1-4635-9E59-46BA9860259E}" destId="{CD4418E0-390C-4DC4-8B58-1DE925CECE36}" srcOrd="2" destOrd="0" parTransId="{500911CD-C8FF-4F65-948B-41462153FB0C}" sibTransId="{B7233CE3-E513-482D-B187-4B31D19C5A25}"/>
    <dgm:cxn modelId="{8296CD92-9F97-43A2-9A79-06FF39F2B151}" type="presOf" srcId="{CD4418E0-390C-4DC4-8B58-1DE925CECE36}" destId="{E9BBE4DB-1976-4EAD-A867-66925C9756CD}" srcOrd="1" destOrd="0" presId="urn:microsoft.com/office/officeart/2005/8/layout/pyramid3"/>
    <dgm:cxn modelId="{F4F5B3F3-23B8-4F28-91B6-2B2F9D2E21E2}" type="presOf" srcId="{3FEA84E8-F00D-44F7-9CFA-80ECAEFDCB49}" destId="{DBB27EB3-CD74-4599-A1A3-0C1C56C3B2FB}" srcOrd="0" destOrd="0" presId="urn:microsoft.com/office/officeart/2005/8/layout/pyramid3"/>
    <dgm:cxn modelId="{15AF43C0-AA92-470D-B5CD-7EEDB323FC91}" type="presParOf" srcId="{842B9222-0487-4157-8215-CCDB10A1C3A3}" destId="{517DB7D6-DBF7-4939-9C0A-FF1E4E9D4607}" srcOrd="0" destOrd="0" presId="urn:microsoft.com/office/officeart/2005/8/layout/pyramid3"/>
    <dgm:cxn modelId="{7261B7B4-1DB2-43D8-9DF9-5E86819DA832}" type="presParOf" srcId="{517DB7D6-DBF7-4939-9C0A-FF1E4E9D4607}" destId="{DBB27EB3-CD74-4599-A1A3-0C1C56C3B2FB}" srcOrd="0" destOrd="0" presId="urn:microsoft.com/office/officeart/2005/8/layout/pyramid3"/>
    <dgm:cxn modelId="{AE3222C0-2077-46C7-807C-D3ECC4F7D536}" type="presParOf" srcId="{517DB7D6-DBF7-4939-9C0A-FF1E4E9D4607}" destId="{63317AD1-AEC3-4E69-BBE5-47BFC4E6866D}" srcOrd="1" destOrd="0" presId="urn:microsoft.com/office/officeart/2005/8/layout/pyramid3"/>
    <dgm:cxn modelId="{0CB8F62A-C492-4BAF-9148-8FE9B152813B}" type="presParOf" srcId="{842B9222-0487-4157-8215-CCDB10A1C3A3}" destId="{13B4C781-A08B-4871-8C45-CA543839AD7A}" srcOrd="1" destOrd="0" presId="urn:microsoft.com/office/officeart/2005/8/layout/pyramid3"/>
    <dgm:cxn modelId="{B19FC3FC-37C7-4B53-A045-CAC19B197B02}" type="presParOf" srcId="{13B4C781-A08B-4871-8C45-CA543839AD7A}" destId="{A45BF08A-341D-47C9-8C7A-B11E22F807EF}" srcOrd="0" destOrd="0" presId="urn:microsoft.com/office/officeart/2005/8/layout/pyramid3"/>
    <dgm:cxn modelId="{0A3111AF-2EFC-4576-9136-698DEF667339}" type="presParOf" srcId="{13B4C781-A08B-4871-8C45-CA543839AD7A}" destId="{D4344D21-A276-422D-BC4A-33E02314C627}" srcOrd="1" destOrd="0" presId="urn:microsoft.com/office/officeart/2005/8/layout/pyramid3"/>
    <dgm:cxn modelId="{514ACCCE-EB65-41B1-B902-1017C461598D}" type="presParOf" srcId="{842B9222-0487-4157-8215-CCDB10A1C3A3}" destId="{D0343472-AFD8-41BE-B6CB-8CBA9909508F}" srcOrd="2" destOrd="0" presId="urn:microsoft.com/office/officeart/2005/8/layout/pyramid3"/>
    <dgm:cxn modelId="{FBA2FAE3-46FE-4C32-BD95-FF6D397ACE49}" type="presParOf" srcId="{D0343472-AFD8-41BE-B6CB-8CBA9909508F}" destId="{64D819AC-9A22-47F4-A8DF-E17B55841C8E}" srcOrd="0" destOrd="0" presId="urn:microsoft.com/office/officeart/2005/8/layout/pyramid3"/>
    <dgm:cxn modelId="{636F0C6B-8444-4FCC-9676-7C435B015341}" type="presParOf" srcId="{D0343472-AFD8-41BE-B6CB-8CBA9909508F}" destId="{E9BBE4DB-1976-4EAD-A867-66925C9756CD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B27EB3-CD74-4599-A1A3-0C1C56C3B2FB}">
      <dsp:nvSpPr>
        <dsp:cNvPr id="0" name=""/>
        <dsp:cNvSpPr/>
      </dsp:nvSpPr>
      <dsp:spPr>
        <a:xfrm rot="10800000">
          <a:off x="0" y="0"/>
          <a:ext cx="4161575" cy="1690411"/>
        </a:xfrm>
        <a:prstGeom prst="trapezoid">
          <a:avLst>
            <a:gd name="adj" fmla="val 41031"/>
          </a:avLst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>
              <a:latin typeface="+mn-lt"/>
              <a:ea typeface="+mn-ea"/>
              <a:cs typeface="+mn-cs"/>
            </a:rPr>
            <a:t>AWARENESS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>
              <a:latin typeface="+mn-lt"/>
              <a:ea typeface="+mn-ea"/>
              <a:cs typeface="+mn-cs"/>
            </a:rPr>
            <a:t>80%</a:t>
          </a:r>
          <a:endParaRPr lang="en-GB" sz="1400" b="1" kern="1200" dirty="0">
            <a:latin typeface="+mn-lt"/>
            <a:ea typeface="+mn-ea"/>
            <a:cs typeface="+mn-cs"/>
          </a:endParaRPr>
        </a:p>
      </dsp:txBody>
      <dsp:txXfrm rot="-10800000">
        <a:off x="1190670" y="288958"/>
        <a:ext cx="1780233" cy="1401453"/>
      </dsp:txXfrm>
    </dsp:sp>
    <dsp:sp modelId="{A45BF08A-341D-47C9-8C7A-B11E22F807EF}">
      <dsp:nvSpPr>
        <dsp:cNvPr id="0" name=""/>
        <dsp:cNvSpPr/>
      </dsp:nvSpPr>
      <dsp:spPr>
        <a:xfrm rot="10800000">
          <a:off x="693595" y="1690411"/>
          <a:ext cx="2774383" cy="1690411"/>
        </a:xfrm>
        <a:prstGeom prst="trapezoid">
          <a:avLst>
            <a:gd name="adj" fmla="val 41031"/>
          </a:avLst>
        </a:prstGeom>
        <a:solidFill>
          <a:schemeClr val="accent1">
            <a:shade val="80000"/>
            <a:hueOff val="256810"/>
            <a:satOff val="-6789"/>
            <a:lumOff val="1484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b="1" kern="1200">
              <a:latin typeface="+mn-lt"/>
              <a:ea typeface="+mn-ea"/>
              <a:cs typeface="+mn-cs"/>
            </a:rPr>
            <a:t>CONSIDERATION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>
              <a:latin typeface="+mn-lt"/>
              <a:ea typeface="+mn-ea"/>
              <a:cs typeface="+mn-cs"/>
            </a:rPr>
            <a:t>20%</a:t>
          </a:r>
          <a:endParaRPr lang="en-GB" sz="1400" b="1" kern="1200" dirty="0">
            <a:latin typeface="+mn-lt"/>
            <a:ea typeface="+mn-ea"/>
            <a:cs typeface="+mn-cs"/>
          </a:endParaRPr>
        </a:p>
      </dsp:txBody>
      <dsp:txXfrm rot="-10800000">
        <a:off x="1641507" y="2123848"/>
        <a:ext cx="878559" cy="1256974"/>
      </dsp:txXfrm>
    </dsp:sp>
    <dsp:sp modelId="{64D819AC-9A22-47F4-A8DF-E17B55841C8E}">
      <dsp:nvSpPr>
        <dsp:cNvPr id="0" name=""/>
        <dsp:cNvSpPr/>
      </dsp:nvSpPr>
      <dsp:spPr>
        <a:xfrm rot="10800000">
          <a:off x="1387191" y="3380823"/>
          <a:ext cx="1387191" cy="1690411"/>
        </a:xfrm>
        <a:prstGeom prst="trapezoid">
          <a:avLst>
            <a:gd name="adj" fmla="val 50000"/>
          </a:avLst>
        </a:prstGeom>
        <a:solidFill>
          <a:schemeClr val="accent1">
            <a:shade val="80000"/>
            <a:hueOff val="513621"/>
            <a:satOff val="-13579"/>
            <a:lumOff val="2967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800" b="1" kern="1200">
              <a:latin typeface="+mn-lt"/>
              <a:ea typeface="+mn-ea"/>
              <a:cs typeface="+mn-cs"/>
            </a:rPr>
            <a:t>ACTION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>
              <a:latin typeface="Amasis MT Pro Black" panose="02040A04050005020304" pitchFamily="18" charset="0"/>
              <a:ea typeface="+mn-ea"/>
              <a:cs typeface="+mn-cs"/>
            </a:rPr>
            <a:t>0%</a:t>
          </a:r>
          <a:endParaRPr lang="en-GB" sz="1400" b="1" kern="1200" dirty="0">
            <a:latin typeface="Amasis MT Pro Black" panose="02040A04050005020304" pitchFamily="18" charset="0"/>
            <a:ea typeface="+mn-ea"/>
            <a:cs typeface="+mn-cs"/>
          </a:endParaRPr>
        </a:p>
      </dsp:txBody>
      <dsp:txXfrm rot="-10800000">
        <a:off x="1849588" y="3944293"/>
        <a:ext cx="462397" cy="112694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688F19-BFE6-452C-BDE8-0D5A6B82B694}" type="datetimeFigureOut">
              <a:rPr lang="es-MX" smtClean="0"/>
              <a:t>18/04/24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7D9D3E-ECF5-42A1-827D-6C9E5FE9A802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25170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B635CC-E9AB-F241-BD47-49145ED01C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38420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BO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7D9D3E-ECF5-42A1-827D-6C9E5FE9A802}" type="slidenum">
              <a:rPr lang="es-MX" smtClean="0"/>
              <a:t>4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5536096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7.png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9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8.png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1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1.xml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1.xml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1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2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2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2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2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3.xml"/></Relationships>
</file>

<file path=ppt/slideLayouts/_rels/slideLayout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8.png"/></Relationships>
</file>

<file path=ppt/slideLayouts/_rels/slideLayout5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4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5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4.xml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5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5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8.png"/></Relationships>
</file>

<file path=ppt/slideLayouts/_rels/slideLayout6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6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6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5.xml"/></Relationships>
</file>

<file path=ppt/slideLayouts/_rels/slideLayout6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5.xml"/></Relationships>
</file>

<file path=ppt/slideLayouts/_rels/slideLayout6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5.xml"/></Relationships>
</file>

<file path=ppt/slideLayouts/_rels/slideLayout6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5.xml"/></Relationships>
</file>

<file path=ppt/slideLayouts/_rels/slideLayout6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5.xml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5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5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5.xml"/></Relationships>
</file>

<file path=ppt/slideLayouts/_rels/slideLayout6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5.xml"/></Relationships>
</file>

<file path=ppt/slideLayouts/_rels/slideLayout6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5.xml"/></Relationships>
</file>

<file path=ppt/slideLayouts/_rels/slideLayout6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6.xml"/></Relationships>
</file>

<file path=ppt/slideLayouts/_rels/slideLayout6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jpeg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6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6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6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6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6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6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6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6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7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7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7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7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7.xml"/></Relationships>
</file>

<file path=ppt/slideLayouts/_rels/slideLayout7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7.xml"/></Relationships>
</file>

<file path=ppt/slideLayouts/_rels/slideLayout7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7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7.xml"/></Relationships>
</file>

<file path=ppt/slideLayouts/_rels/slideLayout7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7.xml"/></Relationships>
</file>

<file path=ppt/slideLayouts/_rels/slideLayout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7.xml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7.xml"/></Relationships>
</file>

<file path=ppt/slideLayouts/_rels/slideLayout7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7.xml"/></Relationships>
</file>

<file path=ppt/slideLayouts/_rels/slideLayout7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7.xml"/></Relationships>
</file>

<file path=ppt/slideLayouts/_rels/slideLayout7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7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8.xml"/></Relationships>
</file>

<file path=ppt/slideLayouts/_rels/slideLayout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8.xml"/></Relationships>
</file>

<file path=ppt/slideLayouts/_rels/slideLayout7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9.xml"/></Relationships>
</file>

<file path=ppt/slideLayouts/_rels/slideLayout7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7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7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7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7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7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8.png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7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7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7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7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7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7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9.xml"/></Relationships>
</file>

<file path=ppt/slideLayouts/_rels/slideLayout8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9.xml"/></Relationships>
</file>

<file path=ppt/slideLayouts/_rels/slideLayout8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9.xml"/></Relationships>
</file>

<file path=ppt/slideLayouts/_rels/slideLayout8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9.xml"/></Relationships>
</file>

<file path=ppt/slideLayouts/_rels/slideLayout8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9.xml"/></Relationships>
</file>

<file path=ppt/slideLayouts/_rels/slideLayout8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8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9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8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8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9.xml"/></Relationships>
</file>

<file path=ppt/slideLayouts/_rels/slideLayout8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9.xml"/></Relationships>
</file>

<file path=ppt/slideLayouts/_rels/slideLayout8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9.xml"/></Relationships>
</file>

<file path=ppt/slideLayouts/_rels/slideLayout8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530699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8608372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24550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70520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03173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56434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42603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37559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861441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350525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50140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24334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8934231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377976578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4/1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43841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9601772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08397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250755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64432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60178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31802159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66185641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07851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59400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779863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34619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4994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23932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120837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520191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574989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704927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468596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8210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27538114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00607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53506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90961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21055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2270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19364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22995188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48376527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78311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4451393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7203194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042231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793756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061808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72075591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40299435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48220689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217839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68564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59415540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2225228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2E6161-A266-4B9E-451D-71EEEBD7CB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499C679-5DEB-ADA4-077F-39D366ED84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04E8D6E-CB67-C464-1E34-611E2977D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DB4A84D-0B8D-1279-2005-624EBDA0F1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14D15B-F079-69FF-50D6-8A2710A75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1952927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9853317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07782872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72692995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17166844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7784506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9923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26394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36121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735389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67931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546065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974118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51391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6393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43633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51086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24307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77104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62527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9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2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1" y="804865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FF9B129-CF47-4A4C-8EAF-ED47CAE38682}"/>
              </a:ext>
            </a:extLst>
          </p:cNvPr>
          <p:cNvGrpSpPr/>
          <p:nvPr/>
        </p:nvGrpSpPr>
        <p:grpSpPr>
          <a:xfrm>
            <a:off x="609600" y="2240287"/>
            <a:ext cx="4213253" cy="307777"/>
            <a:chOff x="609600" y="2167932"/>
            <a:chExt cx="4213253" cy="307778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8882C5F-5C5A-5A45-BD08-6A4630295363}"/>
                </a:ext>
              </a:extLst>
            </p:cNvPr>
            <p:cNvSpPr txBox="1"/>
            <p:nvPr/>
          </p:nvSpPr>
          <p:spPr>
            <a:xfrm>
              <a:off x="609600" y="2167932"/>
              <a:ext cx="4213253" cy="3077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/>
                <a:t>Powered by </a:t>
              </a:r>
            </a:p>
          </p:txBody>
        </p:sp>
        <p:pic>
          <p:nvPicPr>
            <p:cNvPr id="16" name="Picture 15" descr="Logo&#10;&#10;Description automatically generated with low confidence">
              <a:extLst>
                <a:ext uri="{FF2B5EF4-FFF2-40B4-BE49-F238E27FC236}">
                  <a16:creationId xmlns:a16="http://schemas.microsoft.com/office/drawing/2014/main" id="{29FB1B43-32AB-6241-B807-C6F09E4572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00801" y="2238352"/>
              <a:ext cx="1168672" cy="207632"/>
            </a:xfrm>
            <a:prstGeom prst="rect">
              <a:avLst/>
            </a:prstGeom>
          </p:spPr>
        </p:pic>
        <p:pic>
          <p:nvPicPr>
            <p:cNvPr id="17" name="Picture 16" descr="A picture containing kitchenware, necktie, grater, accordion&#10;&#10;Description automatically generated">
              <a:extLst>
                <a:ext uri="{FF2B5EF4-FFF2-40B4-BE49-F238E27FC236}">
                  <a16:creationId xmlns:a16="http://schemas.microsoft.com/office/drawing/2014/main" id="{1AD16CA8-F373-D945-93F4-8B18C14A2B4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23198" y="2296003"/>
              <a:ext cx="481962" cy="144589"/>
            </a:xfrm>
            <a:prstGeom prst="rect">
              <a:avLst/>
            </a:prstGeom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6E8232E2-45FA-5745-B39D-DB9B186BFCC1}"/>
                </a:ext>
              </a:extLst>
            </p:cNvPr>
            <p:cNvGrpSpPr/>
            <p:nvPr/>
          </p:nvGrpSpPr>
          <p:grpSpPr>
            <a:xfrm>
              <a:off x="3336721" y="2309024"/>
              <a:ext cx="122249" cy="122249"/>
              <a:chOff x="3632751" y="2253656"/>
              <a:chExt cx="144725" cy="144725"/>
            </a:xfrm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AB7AC20B-D916-8D4B-917C-72D0E21C1A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32751" y="2253656"/>
                <a:ext cx="144725" cy="14472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964EE3A-3B66-5C4F-A30E-00F13BA8347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632751" y="2253656"/>
                <a:ext cx="144725" cy="14472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296AC07-F03A-9E4F-BF8C-11FDA9D15DF0}"/>
              </a:ext>
            </a:extLst>
          </p:cNvPr>
          <p:cNvCxnSpPr>
            <a:cxnSpLocks/>
          </p:cNvCxnSpPr>
          <p:nvPr/>
        </p:nvCxnSpPr>
        <p:spPr>
          <a:xfrm>
            <a:off x="644685" y="2157720"/>
            <a:ext cx="4037675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100000">
                  <a:schemeClr val="accent6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F5F6A68-6BCD-C84B-B3D3-2FAFBA0FFB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3929" y="5633687"/>
            <a:ext cx="2888995" cy="663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81847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8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8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6" y="0"/>
            <a:ext cx="3120815" cy="6502400"/>
          </a:xfrm>
        </p:spPr>
        <p:txBody>
          <a:bodyPr anchor="ctr">
            <a:normAutofit/>
          </a:bodyPr>
          <a:lstStyle>
            <a:lvl1pPr>
              <a:defRPr sz="4500"/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5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7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396913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554814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8" y="606553"/>
            <a:ext cx="5740063" cy="11927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/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1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2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2" y="-3701052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1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1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7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7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1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1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15762517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9" y="609601"/>
            <a:ext cx="6245995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0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00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5" y="4261865"/>
            <a:ext cx="4023169" cy="137953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/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29999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66951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7" y="609601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65004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270477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5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7" y="609601"/>
            <a:ext cx="518764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9"/>
            <a:ext cx="6536431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81471974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26308"/>
            <a:ext cx="11392931" cy="5690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20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1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848631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2941639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2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1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2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42540162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651593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6" y="5119052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33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6" y="1662668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33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1" y="2866233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233851904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6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6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5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41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41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3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8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8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2561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7765752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9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5" y="179851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1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6" y="-1414464"/>
            <a:ext cx="2782519" cy="6022347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1" cy="6496051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9" y="162517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8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7" y="321297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09" y="3614445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3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7" y="4780493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8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6" y="609601"/>
            <a:ext cx="3626481" cy="1192743"/>
          </a:xfrm>
        </p:spPr>
        <p:txBody>
          <a:bodyPr>
            <a:normAutofit/>
          </a:bodyPr>
          <a:lstStyle>
            <a:lvl1pPr>
              <a:defRPr sz="4500"/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7" y="21071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5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7" y="2199982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5" y="336603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7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9" y="-140854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5" y="568694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8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7" y="6088414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5" y="725446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7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52828529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7" y="2510225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6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/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</p:spTree>
    <p:extLst>
      <p:ext uri="{BB962C8B-B14F-4D97-AF65-F5344CB8AC3E}">
        <p14:creationId xmlns:p14="http://schemas.microsoft.com/office/powerpoint/2010/main" val="208438624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m 22">
            <a:extLst>
              <a:ext uri="{FF2B5EF4-FFF2-40B4-BE49-F238E27FC236}">
                <a16:creationId xmlns:a16="http://schemas.microsoft.com/office/drawing/2014/main" id="{79A65935-73AF-4DA8-A919-06AF2809A18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6596"/>
          <a:stretch/>
        </p:blipFill>
        <p:spPr>
          <a:xfrm>
            <a:off x="9207115" y="2"/>
            <a:ext cx="2984887" cy="5182049"/>
          </a:xfrm>
          <a:prstGeom prst="rect">
            <a:avLst/>
          </a:prstGeom>
        </p:spPr>
      </p:pic>
      <p:sp>
        <p:nvSpPr>
          <p:cNvPr id="24" name="Título 1">
            <a:extLst>
              <a:ext uri="{FF2B5EF4-FFF2-40B4-BE49-F238E27FC236}">
                <a16:creationId xmlns:a16="http://schemas.microsoft.com/office/drawing/2014/main" id="{536460E4-CDFF-47EB-8B21-4830F1706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1" y="708027"/>
            <a:ext cx="11443429" cy="473076"/>
          </a:xfrm>
        </p:spPr>
        <p:txBody>
          <a:bodyPr/>
          <a:lstStyle>
            <a:lvl1pPr>
              <a:defRPr/>
            </a:lvl1pPr>
          </a:lstStyle>
          <a:p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25" name="Marcador de Posição do Texto 15">
            <a:extLst>
              <a:ext uri="{FF2B5EF4-FFF2-40B4-BE49-F238E27FC236}">
                <a16:creationId xmlns:a16="http://schemas.microsoft.com/office/drawing/2014/main" id="{BC6E7B4E-69C0-4C3C-8697-9DDA76B900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1" y="1201713"/>
            <a:ext cx="11443428" cy="282315"/>
          </a:xfrm>
        </p:spPr>
        <p:txBody>
          <a:bodyPr>
            <a:noAutofit/>
          </a:bodyPr>
          <a:lstStyle>
            <a:lvl1pPr>
              <a:defRPr sz="1600" b="1">
                <a:solidFill>
                  <a:srgbClr val="1B3548"/>
                </a:solidFill>
              </a:defRPr>
            </a:lvl1pPr>
            <a:lvl2pPr>
              <a:defRPr sz="4000" b="1">
                <a:solidFill>
                  <a:schemeClr val="bg1"/>
                </a:solidFill>
              </a:defRPr>
            </a:lvl2pPr>
            <a:lvl3pPr>
              <a:defRPr sz="4000" b="1">
                <a:solidFill>
                  <a:schemeClr val="bg1"/>
                </a:solidFill>
              </a:defRPr>
            </a:lvl3pPr>
            <a:lvl4pPr>
              <a:defRPr sz="4000" b="1">
                <a:solidFill>
                  <a:schemeClr val="bg1"/>
                </a:solidFill>
              </a:defRPr>
            </a:lvl4pPr>
            <a:lvl5pPr>
              <a:defRPr sz="4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993EB591-9A0E-46AA-9045-EB3008B3E0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28388" y="3165423"/>
            <a:ext cx="3569013" cy="229099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ext</a:t>
            </a:r>
            <a:endParaRPr lang="pt-PT"/>
          </a:p>
          <a:p>
            <a:pPr lvl="4"/>
            <a:endParaRPr lang="pt-PT"/>
          </a:p>
        </p:txBody>
      </p:sp>
      <p:sp>
        <p:nvSpPr>
          <p:cNvPr id="8" name="Marcador de Posição do Texto 6">
            <a:extLst>
              <a:ext uri="{FF2B5EF4-FFF2-40B4-BE49-F238E27FC236}">
                <a16:creationId xmlns:a16="http://schemas.microsoft.com/office/drawing/2014/main" id="{2BDE4001-201A-47E3-8090-A0810CB9DA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75452" y="3165423"/>
            <a:ext cx="3569013" cy="229099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ext</a:t>
            </a:r>
            <a:endParaRPr lang="pt-PT"/>
          </a:p>
          <a:p>
            <a:pPr lvl="4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08273901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1_Smar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Posição do SmartArt 7">
            <a:extLst>
              <a:ext uri="{FF2B5EF4-FFF2-40B4-BE49-F238E27FC236}">
                <a16:creationId xmlns:a16="http://schemas.microsoft.com/office/drawing/2014/main" id="{47434D48-6DBF-4A18-AFC2-0416287AC32E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692259" y="1693836"/>
            <a:ext cx="10807484" cy="3715072"/>
          </a:xfrm>
        </p:spPr>
        <p:txBody>
          <a:bodyPr anchor="ctr">
            <a:normAutofit/>
          </a:bodyPr>
          <a:lstStyle>
            <a:lvl1pPr algn="ctr">
              <a:defRPr sz="2400" b="1"/>
            </a:lvl1pPr>
          </a:lstStyle>
          <a:p>
            <a:r>
              <a:rPr lang="es-ES"/>
              <a:t>Haga clic en el icono para agregar un elemento gráfico SmartArt</a:t>
            </a:r>
            <a:endParaRPr lang="pt-PT"/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685866D5-220C-4EFD-8466-BB12CD6648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49" y="408223"/>
            <a:ext cx="11338499" cy="473076"/>
          </a:xfrm>
        </p:spPr>
        <p:txBody>
          <a:bodyPr/>
          <a:lstStyle>
            <a:lvl1pPr>
              <a:defRPr/>
            </a:lvl1pPr>
          </a:lstStyle>
          <a:p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17" name="Marcador de Posição do Texto 15">
            <a:extLst>
              <a:ext uri="{FF2B5EF4-FFF2-40B4-BE49-F238E27FC236}">
                <a16:creationId xmlns:a16="http://schemas.microsoft.com/office/drawing/2014/main" id="{7020BC6D-C4C7-47DB-AAE9-331951ECE4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901909"/>
            <a:ext cx="11338497" cy="282315"/>
          </a:xfrm>
        </p:spPr>
        <p:txBody>
          <a:bodyPr>
            <a:noAutofit/>
          </a:bodyPr>
          <a:lstStyle>
            <a:lvl1pPr>
              <a:defRPr sz="1600" b="1">
                <a:solidFill>
                  <a:srgbClr val="1B3548"/>
                </a:solidFill>
              </a:defRPr>
            </a:lvl1pPr>
            <a:lvl2pPr>
              <a:defRPr sz="4000" b="1">
                <a:solidFill>
                  <a:schemeClr val="bg1"/>
                </a:solidFill>
              </a:defRPr>
            </a:lvl2pPr>
            <a:lvl3pPr>
              <a:defRPr sz="4000" b="1">
                <a:solidFill>
                  <a:schemeClr val="bg1"/>
                </a:solidFill>
              </a:defRPr>
            </a:lvl3pPr>
            <a:lvl4pPr>
              <a:defRPr sz="4000" b="1">
                <a:solidFill>
                  <a:schemeClr val="bg1"/>
                </a:solidFill>
              </a:defRPr>
            </a:lvl4pPr>
            <a:lvl5pPr>
              <a:defRPr sz="4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7664253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182607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188256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9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Source: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1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949" y="1732753"/>
            <a:ext cx="10799867" cy="475199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/>
          </a:p>
        </p:txBody>
      </p:sp>
      <p:sp>
        <p:nvSpPr>
          <p:cNvPr id="10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594389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91221238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797730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535225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9791632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2830AFF-C79F-8066-8CFD-9D1BBE86F85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32693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F5E32D8-CFDD-F631-47A3-76187F7EDAC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62517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9228377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05969644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8329449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185934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D668BFB-7AE6-2B2A-0F1B-47040C06B97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43369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AEF0978F-90E4-D76B-961C-72805ADE8C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04113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E63B53E-5502-7482-F8B9-A7C4C1E2D8F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84092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3338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798675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76079622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0412729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937127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314420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700120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28684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32101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49474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47C7E3-6F65-C6E0-1009-5B494C29640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50448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B46AFC3-49DA-CB60-1E4D-C6242C7D9C7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08005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89095F-CBA9-0776-ED0A-FAB03D73517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5552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34640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A5B50F6-35F7-718C-1F0C-C5B564CDF9E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917120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38025316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82035951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EF41C1-FAFA-0CC5-16FE-9D109EF9891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9268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70972419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1026272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053689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501114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3263971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2495870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9544736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46518402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959865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E04968-7379-7B69-6FE0-4E0FCE33709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13032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66575357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31689357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468448687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1932624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85884062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503879885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007588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517548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530B91A-AC76-0D0B-3122-59AC3FE7DF0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47395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6680901-742F-9F90-E2BD-3071E5352F3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01636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835C606-E1D6-1462-9E0B-EF1BA51DB00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46625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034470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232683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612919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FF024E-B5F9-77F7-53E6-08A4BE4FFD8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262441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ABA5A0-51B8-4818-9374-54259B4E473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275355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9C0D61-332A-349D-DFB5-C11361A208C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46830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5D1678-4E58-3A7B-1F8A-65B93C05F77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1531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35829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75B96F7-4A7C-DFEC-C1D3-76CA93197CF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128180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EE651DD-8F8C-C327-83EE-5DF5D228E2B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90269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33DFD3D-D3FB-B36C-9D33-9A5E2CABEA3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192348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748617988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242605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70935434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348401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959739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65867245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722458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1445742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9145186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7106497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608354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659605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04163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572581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7372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8555794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800144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13079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45222475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697900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782254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753638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717000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29282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136047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723305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017858841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152393038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0" y="6354"/>
            <a:ext cx="12191999" cy="684529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69012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8309546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496203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52191585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1897823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971237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4699238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211685988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309482011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875307613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5331059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2407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150691392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017818791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18607894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88630795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16311977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842726282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227618001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28293580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69130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900629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14120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722199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402939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6897605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3449814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785410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037134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941028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055157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973133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665844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8405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5470535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036099374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00F3E78-2B98-7C49-B46E-A733CA3043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8A646979-CD1E-1D4C-85F5-624B90BE03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" y="2681575"/>
            <a:ext cx="4720182" cy="764359"/>
          </a:xfrm>
          <a:custGeom>
            <a:avLst/>
            <a:gdLst>
              <a:gd name="connsiteX0" fmla="*/ 1895453 w 5168519"/>
              <a:gd name="connsiteY0" fmla="*/ 363844 h 836961"/>
              <a:gd name="connsiteX1" fmla="*/ 1733628 w 5168519"/>
              <a:gd name="connsiteY1" fmla="*/ 531675 h 836961"/>
              <a:gd name="connsiteX2" fmla="*/ 1895453 w 5168519"/>
              <a:gd name="connsiteY2" fmla="*/ 700648 h 836961"/>
              <a:gd name="connsiteX3" fmla="*/ 2060515 w 5168519"/>
              <a:gd name="connsiteY3" fmla="*/ 531675 h 836961"/>
              <a:gd name="connsiteX4" fmla="*/ 2060568 w 5168519"/>
              <a:gd name="connsiteY4" fmla="*/ 525121 h 836961"/>
              <a:gd name="connsiteX5" fmla="*/ 1895453 w 5168519"/>
              <a:gd name="connsiteY5" fmla="*/ 363844 h 836961"/>
              <a:gd name="connsiteX6" fmla="*/ 3942071 w 5168519"/>
              <a:gd name="connsiteY6" fmla="*/ 362702 h 836961"/>
              <a:gd name="connsiteX7" fmla="*/ 3787480 w 5168519"/>
              <a:gd name="connsiteY7" fmla="*/ 532818 h 836961"/>
              <a:gd name="connsiteX8" fmla="*/ 3905939 w 5168519"/>
              <a:gd name="connsiteY8" fmla="*/ 698118 h 836961"/>
              <a:gd name="connsiteX9" fmla="*/ 3941976 w 5168519"/>
              <a:gd name="connsiteY9" fmla="*/ 701782 h 836961"/>
              <a:gd name="connsiteX10" fmla="*/ 3941881 w 5168519"/>
              <a:gd name="connsiteY10" fmla="*/ 701792 h 836961"/>
              <a:gd name="connsiteX11" fmla="*/ 3942071 w 5168519"/>
              <a:gd name="connsiteY11" fmla="*/ 701792 h 836961"/>
              <a:gd name="connsiteX12" fmla="*/ 3941976 w 5168519"/>
              <a:gd name="connsiteY12" fmla="*/ 701782 h 836961"/>
              <a:gd name="connsiteX13" fmla="*/ 3978022 w 5168519"/>
              <a:gd name="connsiteY13" fmla="*/ 698067 h 836961"/>
              <a:gd name="connsiteX14" fmla="*/ 4096662 w 5168519"/>
              <a:gd name="connsiteY14" fmla="*/ 532818 h 836961"/>
              <a:gd name="connsiteX15" fmla="*/ 3942071 w 5168519"/>
              <a:gd name="connsiteY15" fmla="*/ 362702 h 836961"/>
              <a:gd name="connsiteX16" fmla="*/ 2787112 w 5168519"/>
              <a:gd name="connsiteY16" fmla="*/ 357654 h 836961"/>
              <a:gd name="connsiteX17" fmla="*/ 2618623 w 5168519"/>
              <a:gd name="connsiteY17" fmla="*/ 531294 h 836961"/>
              <a:gd name="connsiteX18" fmla="*/ 2787112 w 5168519"/>
              <a:gd name="connsiteY18" fmla="*/ 706078 h 836961"/>
              <a:gd name="connsiteX19" fmla="*/ 2787112 w 5168519"/>
              <a:gd name="connsiteY19" fmla="*/ 706459 h 836961"/>
              <a:gd name="connsiteX20" fmla="*/ 2787112 w 5168519"/>
              <a:gd name="connsiteY20" fmla="*/ 357654 h 836961"/>
              <a:gd name="connsiteX21" fmla="*/ 1257575 w 5168519"/>
              <a:gd name="connsiteY21" fmla="*/ 353748 h 836961"/>
              <a:gd name="connsiteX22" fmla="*/ 1098319 w 5168519"/>
              <a:gd name="connsiteY22" fmla="*/ 465667 h 836961"/>
              <a:gd name="connsiteX23" fmla="*/ 1405217 w 5168519"/>
              <a:gd name="connsiteY23" fmla="*/ 465667 h 836961"/>
              <a:gd name="connsiteX24" fmla="*/ 1257575 w 5168519"/>
              <a:gd name="connsiteY24" fmla="*/ 353748 h 836961"/>
              <a:gd name="connsiteX25" fmla="*/ 2275077 w 5168519"/>
              <a:gd name="connsiteY25" fmla="*/ 242687 h 836961"/>
              <a:gd name="connsiteX26" fmla="*/ 2415770 w 5168519"/>
              <a:gd name="connsiteY26" fmla="*/ 242687 h 836961"/>
              <a:gd name="connsiteX27" fmla="*/ 2415770 w 5168519"/>
              <a:gd name="connsiteY27" fmla="*/ 819521 h 836961"/>
              <a:gd name="connsiteX28" fmla="*/ 2275077 w 5168519"/>
              <a:gd name="connsiteY28" fmla="*/ 819521 h 836961"/>
              <a:gd name="connsiteX29" fmla="*/ 4568241 w 5168519"/>
              <a:gd name="connsiteY29" fmla="*/ 234400 h 836961"/>
              <a:gd name="connsiteX30" fmla="*/ 4736730 w 5168519"/>
              <a:gd name="connsiteY30" fmla="*/ 341651 h 836961"/>
              <a:gd name="connsiteX31" fmla="*/ 4927113 w 5168519"/>
              <a:gd name="connsiteY31" fmla="*/ 236877 h 836961"/>
              <a:gd name="connsiteX32" fmla="*/ 5168519 w 5168519"/>
              <a:gd name="connsiteY32" fmla="*/ 509482 h 836961"/>
              <a:gd name="connsiteX33" fmla="*/ 5168519 w 5168519"/>
              <a:gd name="connsiteY33" fmla="*/ 819140 h 836961"/>
              <a:gd name="connsiteX34" fmla="*/ 5027826 w 5168519"/>
              <a:gd name="connsiteY34" fmla="*/ 819140 h 836961"/>
              <a:gd name="connsiteX35" fmla="*/ 5027826 w 5168519"/>
              <a:gd name="connsiteY35" fmla="*/ 509482 h 836961"/>
              <a:gd name="connsiteX36" fmla="*/ 4920450 w 5168519"/>
              <a:gd name="connsiteY36" fmla="*/ 369655 h 836961"/>
              <a:gd name="connsiteX37" fmla="*/ 4796701 w 5168519"/>
              <a:gd name="connsiteY37" fmla="*/ 511863 h 836961"/>
              <a:gd name="connsiteX38" fmla="*/ 4796701 w 5168519"/>
              <a:gd name="connsiteY38" fmla="*/ 819140 h 836961"/>
              <a:gd name="connsiteX39" fmla="*/ 4656008 w 5168519"/>
              <a:gd name="connsiteY39" fmla="*/ 819140 h 836961"/>
              <a:gd name="connsiteX40" fmla="*/ 4656008 w 5168519"/>
              <a:gd name="connsiteY40" fmla="*/ 511863 h 836961"/>
              <a:gd name="connsiteX41" fmla="*/ 4539493 w 5168519"/>
              <a:gd name="connsiteY41" fmla="*/ 367369 h 836961"/>
              <a:gd name="connsiteX42" fmla="*/ 4418314 w 5168519"/>
              <a:gd name="connsiteY42" fmla="*/ 511863 h 836961"/>
              <a:gd name="connsiteX43" fmla="*/ 4418314 w 5168519"/>
              <a:gd name="connsiteY43" fmla="*/ 819140 h 836961"/>
              <a:gd name="connsiteX44" fmla="*/ 4277526 w 5168519"/>
              <a:gd name="connsiteY44" fmla="*/ 819140 h 836961"/>
              <a:gd name="connsiteX45" fmla="*/ 4277526 w 5168519"/>
              <a:gd name="connsiteY45" fmla="*/ 243734 h 836961"/>
              <a:gd name="connsiteX46" fmla="*/ 4407939 w 5168519"/>
              <a:gd name="connsiteY46" fmla="*/ 243734 h 836961"/>
              <a:gd name="connsiteX47" fmla="*/ 4418314 w 5168519"/>
              <a:gd name="connsiteY47" fmla="*/ 313648 h 836961"/>
              <a:gd name="connsiteX48" fmla="*/ 4568241 w 5168519"/>
              <a:gd name="connsiteY48" fmla="*/ 234400 h 836961"/>
              <a:gd name="connsiteX49" fmla="*/ 290715 w 5168519"/>
              <a:gd name="connsiteY49" fmla="*/ 234400 h 836961"/>
              <a:gd name="connsiteX50" fmla="*/ 459204 w 5168519"/>
              <a:gd name="connsiteY50" fmla="*/ 341651 h 836961"/>
              <a:gd name="connsiteX51" fmla="*/ 649587 w 5168519"/>
              <a:gd name="connsiteY51" fmla="*/ 236877 h 836961"/>
              <a:gd name="connsiteX52" fmla="*/ 890707 w 5168519"/>
              <a:gd name="connsiteY52" fmla="*/ 509482 h 836961"/>
              <a:gd name="connsiteX53" fmla="*/ 890707 w 5168519"/>
              <a:gd name="connsiteY53" fmla="*/ 819140 h 836961"/>
              <a:gd name="connsiteX54" fmla="*/ 750300 w 5168519"/>
              <a:gd name="connsiteY54" fmla="*/ 819140 h 836961"/>
              <a:gd name="connsiteX55" fmla="*/ 750300 w 5168519"/>
              <a:gd name="connsiteY55" fmla="*/ 509482 h 836961"/>
              <a:gd name="connsiteX56" fmla="*/ 642924 w 5168519"/>
              <a:gd name="connsiteY56" fmla="*/ 369655 h 836961"/>
              <a:gd name="connsiteX57" fmla="*/ 519175 w 5168519"/>
              <a:gd name="connsiteY57" fmla="*/ 511863 h 836961"/>
              <a:gd name="connsiteX58" fmla="*/ 519175 w 5168519"/>
              <a:gd name="connsiteY58" fmla="*/ 819140 h 836961"/>
              <a:gd name="connsiteX59" fmla="*/ 378482 w 5168519"/>
              <a:gd name="connsiteY59" fmla="*/ 819140 h 836961"/>
              <a:gd name="connsiteX60" fmla="*/ 378482 w 5168519"/>
              <a:gd name="connsiteY60" fmla="*/ 511863 h 836961"/>
              <a:gd name="connsiteX61" fmla="*/ 261967 w 5168519"/>
              <a:gd name="connsiteY61" fmla="*/ 367369 h 836961"/>
              <a:gd name="connsiteX62" fmla="*/ 140788 w 5168519"/>
              <a:gd name="connsiteY62" fmla="*/ 511863 h 836961"/>
              <a:gd name="connsiteX63" fmla="*/ 140788 w 5168519"/>
              <a:gd name="connsiteY63" fmla="*/ 819140 h 836961"/>
              <a:gd name="connsiteX64" fmla="*/ 0 w 5168519"/>
              <a:gd name="connsiteY64" fmla="*/ 819140 h 836961"/>
              <a:gd name="connsiteX65" fmla="*/ 0 w 5168519"/>
              <a:gd name="connsiteY65" fmla="*/ 243830 h 836961"/>
              <a:gd name="connsiteX66" fmla="*/ 130412 w 5168519"/>
              <a:gd name="connsiteY66" fmla="*/ 243830 h 836961"/>
              <a:gd name="connsiteX67" fmla="*/ 140788 w 5168519"/>
              <a:gd name="connsiteY67" fmla="*/ 313648 h 836961"/>
              <a:gd name="connsiteX68" fmla="*/ 290715 w 5168519"/>
              <a:gd name="connsiteY68" fmla="*/ 234400 h 836961"/>
              <a:gd name="connsiteX69" fmla="*/ 3940929 w 5168519"/>
              <a:gd name="connsiteY69" fmla="*/ 233352 h 836961"/>
              <a:gd name="connsiteX70" fmla="*/ 4238307 w 5168519"/>
              <a:gd name="connsiteY70" fmla="*/ 532818 h 836961"/>
              <a:gd name="connsiteX71" fmla="*/ 3941786 w 5168519"/>
              <a:gd name="connsiteY71" fmla="*/ 832284 h 836961"/>
              <a:gd name="connsiteX72" fmla="*/ 3646692 w 5168519"/>
              <a:gd name="connsiteY72" fmla="*/ 532818 h 836961"/>
              <a:gd name="connsiteX73" fmla="*/ 3940929 w 5168519"/>
              <a:gd name="connsiteY73" fmla="*/ 233352 h 836961"/>
              <a:gd name="connsiteX74" fmla="*/ 2774737 w 5168519"/>
              <a:gd name="connsiteY74" fmla="*/ 230590 h 836961"/>
              <a:gd name="connsiteX75" fmla="*/ 2955601 w 5168519"/>
              <a:gd name="connsiteY75" fmla="*/ 323840 h 836961"/>
              <a:gd name="connsiteX76" fmla="*/ 2960456 w 5168519"/>
              <a:gd name="connsiteY76" fmla="*/ 244973 h 836961"/>
              <a:gd name="connsiteX77" fmla="*/ 3095152 w 5168519"/>
              <a:gd name="connsiteY77" fmla="*/ 244973 h 836961"/>
              <a:gd name="connsiteX78" fmla="*/ 3095152 w 5168519"/>
              <a:gd name="connsiteY78" fmla="*/ 819521 h 836961"/>
              <a:gd name="connsiteX79" fmla="*/ 2962455 w 5168519"/>
              <a:gd name="connsiteY79" fmla="*/ 819521 h 836961"/>
              <a:gd name="connsiteX80" fmla="*/ 2955601 w 5168519"/>
              <a:gd name="connsiteY80" fmla="*/ 735606 h 836961"/>
              <a:gd name="connsiteX81" fmla="*/ 2770930 w 5168519"/>
              <a:gd name="connsiteY81" fmla="*/ 836952 h 836961"/>
              <a:gd name="connsiteX82" fmla="*/ 2477930 w 5168519"/>
              <a:gd name="connsiteY82" fmla="*/ 531675 h 836961"/>
              <a:gd name="connsiteX83" fmla="*/ 2774737 w 5168519"/>
              <a:gd name="connsiteY83" fmla="*/ 230590 h 836961"/>
              <a:gd name="connsiteX84" fmla="*/ 3437461 w 5168519"/>
              <a:gd name="connsiteY84" fmla="*/ 228685 h 836961"/>
              <a:gd name="connsiteX85" fmla="*/ 3642885 w 5168519"/>
              <a:gd name="connsiteY85" fmla="*/ 313743 h 836961"/>
              <a:gd name="connsiteX86" fmla="*/ 3553976 w 5168519"/>
              <a:gd name="connsiteY86" fmla="*/ 408136 h 836961"/>
              <a:gd name="connsiteX87" fmla="*/ 3439746 w 5168519"/>
              <a:gd name="connsiteY87" fmla="*/ 362702 h 836961"/>
              <a:gd name="connsiteX88" fmla="*/ 3275921 w 5168519"/>
              <a:gd name="connsiteY88" fmla="*/ 532818 h 836961"/>
              <a:gd name="connsiteX89" fmla="*/ 3437747 w 5168519"/>
              <a:gd name="connsiteY89" fmla="*/ 700649 h 836961"/>
              <a:gd name="connsiteX90" fmla="*/ 3561782 w 5168519"/>
              <a:gd name="connsiteY90" fmla="*/ 652833 h 836961"/>
              <a:gd name="connsiteX91" fmla="*/ 3656402 w 5168519"/>
              <a:gd name="connsiteY91" fmla="*/ 746083 h 836961"/>
              <a:gd name="connsiteX92" fmla="*/ 3437461 w 5168519"/>
              <a:gd name="connsiteY92" fmla="*/ 836952 h 836961"/>
              <a:gd name="connsiteX93" fmla="*/ 3135228 w 5168519"/>
              <a:gd name="connsiteY93" fmla="*/ 532818 h 836961"/>
              <a:gd name="connsiteX94" fmla="*/ 3437461 w 5168519"/>
              <a:gd name="connsiteY94" fmla="*/ 228685 h 836961"/>
              <a:gd name="connsiteX95" fmla="*/ 1252910 w 5168519"/>
              <a:gd name="connsiteY95" fmla="*/ 227542 h 836961"/>
              <a:gd name="connsiteX96" fmla="*/ 1540198 w 5168519"/>
              <a:gd name="connsiteY96" fmla="*/ 582920 h 836961"/>
              <a:gd name="connsiteX97" fmla="*/ 1096415 w 5168519"/>
              <a:gd name="connsiteY97" fmla="*/ 582920 h 836961"/>
              <a:gd name="connsiteX98" fmla="*/ 1266047 w 5168519"/>
              <a:gd name="connsiteY98" fmla="*/ 705316 h 836961"/>
              <a:gd name="connsiteX99" fmla="*/ 1418353 w 5168519"/>
              <a:gd name="connsiteY99" fmla="*/ 651690 h 836961"/>
              <a:gd name="connsiteX100" fmla="*/ 1507928 w 5168519"/>
              <a:gd name="connsiteY100" fmla="*/ 741416 h 836961"/>
              <a:gd name="connsiteX101" fmla="*/ 1263286 w 5168519"/>
              <a:gd name="connsiteY101" fmla="*/ 834666 h 836961"/>
              <a:gd name="connsiteX102" fmla="*/ 950582 w 5168519"/>
              <a:gd name="connsiteY102" fmla="*/ 528151 h 836961"/>
              <a:gd name="connsiteX103" fmla="*/ 1252910 w 5168519"/>
              <a:gd name="connsiteY103" fmla="*/ 227542 h 836961"/>
              <a:gd name="connsiteX104" fmla="*/ 2069749 w 5168519"/>
              <a:gd name="connsiteY104" fmla="*/ 4942 h 836961"/>
              <a:gd name="connsiteX105" fmla="*/ 2210728 w 5168519"/>
              <a:gd name="connsiteY105" fmla="*/ 4942 h 836961"/>
              <a:gd name="connsiteX106" fmla="*/ 2210728 w 5168519"/>
              <a:gd name="connsiteY106" fmla="*/ 819520 h 836961"/>
              <a:gd name="connsiteX107" fmla="*/ 2079268 w 5168519"/>
              <a:gd name="connsiteY107" fmla="*/ 819520 h 836961"/>
              <a:gd name="connsiteX108" fmla="*/ 2069749 w 5168519"/>
              <a:gd name="connsiteY108" fmla="*/ 740272 h 836961"/>
              <a:gd name="connsiteX109" fmla="*/ 1886315 w 5168519"/>
              <a:gd name="connsiteY109" fmla="*/ 832284 h 836961"/>
              <a:gd name="connsiteX110" fmla="*/ 1593220 w 5168519"/>
              <a:gd name="connsiteY110" fmla="*/ 531675 h 836961"/>
              <a:gd name="connsiteX111" fmla="*/ 1882793 w 5168519"/>
              <a:gd name="connsiteY111" fmla="*/ 230970 h 836961"/>
              <a:gd name="connsiteX112" fmla="*/ 2069749 w 5168519"/>
              <a:gd name="connsiteY112" fmla="*/ 323077 h 836961"/>
              <a:gd name="connsiteX113" fmla="*/ 2345423 w 5168519"/>
              <a:gd name="connsiteY113" fmla="*/ 1 h 836961"/>
              <a:gd name="connsiteX114" fmla="*/ 2428525 w 5168519"/>
              <a:gd name="connsiteY114" fmla="*/ 83047 h 836961"/>
              <a:gd name="connsiteX115" fmla="*/ 2262321 w 5168519"/>
              <a:gd name="connsiteY115" fmla="*/ 83047 h 836961"/>
              <a:gd name="connsiteX116" fmla="*/ 2345423 w 5168519"/>
              <a:gd name="connsiteY116" fmla="*/ 1 h 836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5168519" h="836961">
                <a:moveTo>
                  <a:pt x="1895453" y="363844"/>
                </a:moveTo>
                <a:cubicBezTo>
                  <a:pt x="1805116" y="363844"/>
                  <a:pt x="1733628" y="427947"/>
                  <a:pt x="1733628" y="531675"/>
                </a:cubicBezTo>
                <a:cubicBezTo>
                  <a:pt x="1733628" y="631877"/>
                  <a:pt x="1805497" y="700648"/>
                  <a:pt x="1895453" y="700648"/>
                </a:cubicBezTo>
                <a:cubicBezTo>
                  <a:pt x="1984362" y="700648"/>
                  <a:pt x="2060515" y="635402"/>
                  <a:pt x="2060515" y="531675"/>
                </a:cubicBezTo>
                <a:cubicBezTo>
                  <a:pt x="2060576" y="529491"/>
                  <a:pt x="2060594" y="527306"/>
                  <a:pt x="2060568" y="525121"/>
                </a:cubicBezTo>
                <a:cubicBezTo>
                  <a:pt x="2059481" y="434963"/>
                  <a:pt x="1985556" y="362756"/>
                  <a:pt x="1895453" y="363844"/>
                </a:cubicBezTo>
                <a:close/>
                <a:moveTo>
                  <a:pt x="3942071" y="362702"/>
                </a:moveTo>
                <a:cubicBezTo>
                  <a:pt x="3840502" y="362702"/>
                  <a:pt x="3787480" y="445378"/>
                  <a:pt x="3787480" y="532818"/>
                </a:cubicBezTo>
                <a:cubicBezTo>
                  <a:pt x="3787480" y="609328"/>
                  <a:pt x="3827201" y="681316"/>
                  <a:pt x="3905939" y="698118"/>
                </a:cubicBezTo>
                <a:lnTo>
                  <a:pt x="3941976" y="701782"/>
                </a:lnTo>
                <a:lnTo>
                  <a:pt x="3941881" y="701792"/>
                </a:lnTo>
                <a:lnTo>
                  <a:pt x="3942071" y="701792"/>
                </a:lnTo>
                <a:lnTo>
                  <a:pt x="3941976" y="701782"/>
                </a:lnTo>
                <a:lnTo>
                  <a:pt x="3978022" y="698067"/>
                </a:lnTo>
                <a:cubicBezTo>
                  <a:pt x="4056797" y="681045"/>
                  <a:pt x="4096662" y="608244"/>
                  <a:pt x="4096662" y="532818"/>
                </a:cubicBezTo>
                <a:cubicBezTo>
                  <a:pt x="4096662" y="446617"/>
                  <a:pt x="4036692" y="362702"/>
                  <a:pt x="3942071" y="362702"/>
                </a:cubicBezTo>
                <a:close/>
                <a:moveTo>
                  <a:pt x="2787112" y="357654"/>
                </a:moveTo>
                <a:cubicBezTo>
                  <a:pt x="2693634" y="357654"/>
                  <a:pt x="2618623" y="421757"/>
                  <a:pt x="2618623" y="531294"/>
                </a:cubicBezTo>
                <a:cubicBezTo>
                  <a:pt x="2618623" y="640832"/>
                  <a:pt x="2693634" y="706078"/>
                  <a:pt x="2787112" y="706078"/>
                </a:cubicBezTo>
                <a:lnTo>
                  <a:pt x="2787112" y="706459"/>
                </a:lnTo>
                <a:cubicBezTo>
                  <a:pt x="3008623" y="706459"/>
                  <a:pt x="3008623" y="358035"/>
                  <a:pt x="2787112" y="357654"/>
                </a:cubicBezTo>
                <a:close/>
                <a:moveTo>
                  <a:pt x="1257575" y="353748"/>
                </a:moveTo>
                <a:cubicBezTo>
                  <a:pt x="1181421" y="353748"/>
                  <a:pt x="1119071" y="391086"/>
                  <a:pt x="1098319" y="465667"/>
                </a:cubicBezTo>
                <a:lnTo>
                  <a:pt x="1405217" y="465667"/>
                </a:lnTo>
                <a:cubicBezTo>
                  <a:pt x="1395983" y="391086"/>
                  <a:pt x="1338297" y="353748"/>
                  <a:pt x="1257575" y="353748"/>
                </a:cubicBezTo>
                <a:close/>
                <a:moveTo>
                  <a:pt x="2275077" y="242687"/>
                </a:moveTo>
                <a:lnTo>
                  <a:pt x="2415770" y="242687"/>
                </a:lnTo>
                <a:lnTo>
                  <a:pt x="2415770" y="819521"/>
                </a:lnTo>
                <a:lnTo>
                  <a:pt x="2275077" y="819521"/>
                </a:lnTo>
                <a:close/>
                <a:moveTo>
                  <a:pt x="4568241" y="234400"/>
                </a:moveTo>
                <a:cubicBezTo>
                  <a:pt x="4636398" y="234400"/>
                  <a:pt x="4704460" y="262403"/>
                  <a:pt x="4736730" y="341651"/>
                </a:cubicBezTo>
                <a:cubicBezTo>
                  <a:pt x="4787562" y="260117"/>
                  <a:pt x="4853340" y="236877"/>
                  <a:pt x="4927113" y="236877"/>
                </a:cubicBezTo>
                <a:cubicBezTo>
                  <a:pt x="5088653" y="236877"/>
                  <a:pt x="5168233" y="337079"/>
                  <a:pt x="5168519" y="509482"/>
                </a:cubicBezTo>
                <a:lnTo>
                  <a:pt x="5168519" y="819140"/>
                </a:lnTo>
                <a:lnTo>
                  <a:pt x="5027826" y="819140"/>
                </a:lnTo>
                <a:lnTo>
                  <a:pt x="5027826" y="509482"/>
                </a:lnTo>
                <a:cubicBezTo>
                  <a:pt x="5027826" y="433758"/>
                  <a:pt x="4996603" y="369655"/>
                  <a:pt x="4920450" y="369655"/>
                </a:cubicBezTo>
                <a:cubicBezTo>
                  <a:pt x="4844296" y="369655"/>
                  <a:pt x="4796701" y="435663"/>
                  <a:pt x="4796701" y="511863"/>
                </a:cubicBezTo>
                <a:lnTo>
                  <a:pt x="4796701" y="819140"/>
                </a:lnTo>
                <a:lnTo>
                  <a:pt x="4656008" y="819140"/>
                </a:lnTo>
                <a:lnTo>
                  <a:pt x="4656008" y="511863"/>
                </a:lnTo>
                <a:cubicBezTo>
                  <a:pt x="4656008" y="436140"/>
                  <a:pt x="4615647" y="367369"/>
                  <a:pt x="4539493" y="367369"/>
                </a:cubicBezTo>
                <a:cubicBezTo>
                  <a:pt x="4463340" y="367369"/>
                  <a:pt x="4418314" y="435663"/>
                  <a:pt x="4418314" y="511863"/>
                </a:cubicBezTo>
                <a:lnTo>
                  <a:pt x="4418314" y="819140"/>
                </a:lnTo>
                <a:lnTo>
                  <a:pt x="4277526" y="819140"/>
                </a:lnTo>
                <a:lnTo>
                  <a:pt x="4277526" y="243734"/>
                </a:lnTo>
                <a:lnTo>
                  <a:pt x="4407939" y="243734"/>
                </a:lnTo>
                <a:lnTo>
                  <a:pt x="4418314" y="313648"/>
                </a:lnTo>
                <a:cubicBezTo>
                  <a:pt x="4448300" y="255355"/>
                  <a:pt x="4514077" y="234400"/>
                  <a:pt x="4568241" y="234400"/>
                </a:cubicBezTo>
                <a:close/>
                <a:moveTo>
                  <a:pt x="290715" y="234400"/>
                </a:moveTo>
                <a:cubicBezTo>
                  <a:pt x="358872" y="234400"/>
                  <a:pt x="426934" y="262403"/>
                  <a:pt x="459204" y="341651"/>
                </a:cubicBezTo>
                <a:cubicBezTo>
                  <a:pt x="510036" y="260117"/>
                  <a:pt x="575718" y="236877"/>
                  <a:pt x="649587" y="236877"/>
                </a:cubicBezTo>
                <a:cubicBezTo>
                  <a:pt x="811127" y="236877"/>
                  <a:pt x="890707" y="337079"/>
                  <a:pt x="890707" y="509482"/>
                </a:cubicBezTo>
                <a:lnTo>
                  <a:pt x="890707" y="819140"/>
                </a:lnTo>
                <a:lnTo>
                  <a:pt x="750300" y="819140"/>
                </a:lnTo>
                <a:lnTo>
                  <a:pt x="750300" y="509482"/>
                </a:lnTo>
                <a:cubicBezTo>
                  <a:pt x="750300" y="433758"/>
                  <a:pt x="719077" y="369655"/>
                  <a:pt x="642924" y="369655"/>
                </a:cubicBezTo>
                <a:cubicBezTo>
                  <a:pt x="566770" y="369655"/>
                  <a:pt x="519175" y="435663"/>
                  <a:pt x="519175" y="511863"/>
                </a:cubicBezTo>
                <a:lnTo>
                  <a:pt x="519175" y="819140"/>
                </a:lnTo>
                <a:lnTo>
                  <a:pt x="378482" y="819140"/>
                </a:lnTo>
                <a:lnTo>
                  <a:pt x="378482" y="511863"/>
                </a:lnTo>
                <a:cubicBezTo>
                  <a:pt x="378482" y="436140"/>
                  <a:pt x="338120" y="367369"/>
                  <a:pt x="261967" y="367369"/>
                </a:cubicBezTo>
                <a:cubicBezTo>
                  <a:pt x="185814" y="367369"/>
                  <a:pt x="140788" y="435663"/>
                  <a:pt x="140788" y="511863"/>
                </a:cubicBezTo>
                <a:lnTo>
                  <a:pt x="140788" y="819140"/>
                </a:lnTo>
                <a:lnTo>
                  <a:pt x="0" y="819140"/>
                </a:lnTo>
                <a:lnTo>
                  <a:pt x="0" y="243830"/>
                </a:lnTo>
                <a:lnTo>
                  <a:pt x="130412" y="243830"/>
                </a:lnTo>
                <a:lnTo>
                  <a:pt x="140788" y="313648"/>
                </a:lnTo>
                <a:cubicBezTo>
                  <a:pt x="170774" y="255355"/>
                  <a:pt x="236551" y="234400"/>
                  <a:pt x="290715" y="234400"/>
                </a:cubicBezTo>
                <a:close/>
                <a:moveTo>
                  <a:pt x="3940929" y="233352"/>
                </a:moveTo>
                <a:cubicBezTo>
                  <a:pt x="4121793" y="233352"/>
                  <a:pt x="4238307" y="367369"/>
                  <a:pt x="4238307" y="532818"/>
                </a:cubicBezTo>
                <a:cubicBezTo>
                  <a:pt x="4238307" y="698267"/>
                  <a:pt x="4126077" y="832284"/>
                  <a:pt x="3941786" y="832284"/>
                </a:cubicBezTo>
                <a:cubicBezTo>
                  <a:pt x="3757495" y="832284"/>
                  <a:pt x="3646692" y="697124"/>
                  <a:pt x="3646692" y="532818"/>
                </a:cubicBezTo>
                <a:cubicBezTo>
                  <a:pt x="3646692" y="368512"/>
                  <a:pt x="3760065" y="233352"/>
                  <a:pt x="3940929" y="233352"/>
                </a:cubicBezTo>
                <a:close/>
                <a:moveTo>
                  <a:pt x="2774737" y="230590"/>
                </a:moveTo>
                <a:cubicBezTo>
                  <a:pt x="2850890" y="230590"/>
                  <a:pt x="2923236" y="266690"/>
                  <a:pt x="2955601" y="323840"/>
                </a:cubicBezTo>
                <a:lnTo>
                  <a:pt x="2960456" y="244973"/>
                </a:lnTo>
                <a:lnTo>
                  <a:pt x="3095152" y="244973"/>
                </a:lnTo>
                <a:lnTo>
                  <a:pt x="3095152" y="819521"/>
                </a:lnTo>
                <a:lnTo>
                  <a:pt x="2962455" y="819521"/>
                </a:lnTo>
                <a:lnTo>
                  <a:pt x="2955601" y="735606"/>
                </a:lnTo>
                <a:cubicBezTo>
                  <a:pt x="2923236" y="803233"/>
                  <a:pt x="2834422" y="835809"/>
                  <a:pt x="2770930" y="836952"/>
                </a:cubicBezTo>
                <a:cubicBezTo>
                  <a:pt x="2602441" y="838095"/>
                  <a:pt x="2477930" y="733224"/>
                  <a:pt x="2477930" y="531675"/>
                </a:cubicBezTo>
                <a:cubicBezTo>
                  <a:pt x="2477930" y="333365"/>
                  <a:pt x="2608247" y="229828"/>
                  <a:pt x="2774737" y="230590"/>
                </a:cubicBezTo>
                <a:close/>
                <a:moveTo>
                  <a:pt x="3437461" y="228685"/>
                </a:moveTo>
                <a:cubicBezTo>
                  <a:pt x="3518184" y="228685"/>
                  <a:pt x="3580534" y="252021"/>
                  <a:pt x="3642885" y="313743"/>
                </a:cubicBezTo>
                <a:lnTo>
                  <a:pt x="3553976" y="408136"/>
                </a:lnTo>
                <a:cubicBezTo>
                  <a:pt x="3522801" y="379414"/>
                  <a:pt x="3482119" y="363233"/>
                  <a:pt x="3439746" y="362702"/>
                </a:cubicBezTo>
                <a:cubicBezTo>
                  <a:pt x="3345126" y="362702"/>
                  <a:pt x="3275921" y="432615"/>
                  <a:pt x="3275921" y="532818"/>
                </a:cubicBezTo>
                <a:cubicBezTo>
                  <a:pt x="3275921" y="642356"/>
                  <a:pt x="3350075" y="700649"/>
                  <a:pt x="3437747" y="700649"/>
                </a:cubicBezTo>
                <a:cubicBezTo>
                  <a:pt x="3483860" y="702191"/>
                  <a:pt x="3528623" y="684935"/>
                  <a:pt x="3561782" y="652833"/>
                </a:cubicBezTo>
                <a:lnTo>
                  <a:pt x="3656402" y="746083"/>
                </a:lnTo>
                <a:cubicBezTo>
                  <a:pt x="3590910" y="811329"/>
                  <a:pt x="3521706" y="836952"/>
                  <a:pt x="3437461" y="836952"/>
                </a:cubicBezTo>
                <a:cubicBezTo>
                  <a:pt x="3272494" y="836952"/>
                  <a:pt x="3135228" y="736748"/>
                  <a:pt x="3135228" y="532818"/>
                </a:cubicBezTo>
                <a:cubicBezTo>
                  <a:pt x="3135228" y="328888"/>
                  <a:pt x="3272494" y="228685"/>
                  <a:pt x="3437461" y="228685"/>
                </a:cubicBezTo>
                <a:close/>
                <a:moveTo>
                  <a:pt x="1252910" y="227542"/>
                </a:moveTo>
                <a:cubicBezTo>
                  <a:pt x="1443293" y="227542"/>
                  <a:pt x="1562188" y="346414"/>
                  <a:pt x="1540198" y="582920"/>
                </a:cubicBezTo>
                <a:lnTo>
                  <a:pt x="1096415" y="582920"/>
                </a:lnTo>
                <a:cubicBezTo>
                  <a:pt x="1105649" y="653976"/>
                  <a:pt x="1166762" y="705316"/>
                  <a:pt x="1266047" y="705316"/>
                </a:cubicBezTo>
                <a:cubicBezTo>
                  <a:pt x="1318021" y="705316"/>
                  <a:pt x="1386083" y="685504"/>
                  <a:pt x="1418353" y="651690"/>
                </a:cubicBezTo>
                <a:lnTo>
                  <a:pt x="1507928" y="741416"/>
                </a:lnTo>
                <a:cubicBezTo>
                  <a:pt x="1447958" y="804376"/>
                  <a:pt x="1349815" y="834666"/>
                  <a:pt x="1263286" y="834666"/>
                </a:cubicBezTo>
                <a:cubicBezTo>
                  <a:pt x="1067192" y="834666"/>
                  <a:pt x="950582" y="712269"/>
                  <a:pt x="950582" y="528151"/>
                </a:cubicBezTo>
                <a:cubicBezTo>
                  <a:pt x="950582" y="353367"/>
                  <a:pt x="1068334" y="227542"/>
                  <a:pt x="1252910" y="227542"/>
                </a:cubicBezTo>
                <a:close/>
                <a:moveTo>
                  <a:pt x="2069749" y="4942"/>
                </a:moveTo>
                <a:lnTo>
                  <a:pt x="2210728" y="4942"/>
                </a:lnTo>
                <a:lnTo>
                  <a:pt x="2210728" y="819520"/>
                </a:lnTo>
                <a:lnTo>
                  <a:pt x="2079268" y="819520"/>
                </a:lnTo>
                <a:lnTo>
                  <a:pt x="2069749" y="740272"/>
                </a:lnTo>
                <a:cubicBezTo>
                  <a:pt x="2025866" y="809043"/>
                  <a:pt x="1955519" y="832284"/>
                  <a:pt x="1886315" y="832284"/>
                </a:cubicBezTo>
                <a:cubicBezTo>
                  <a:pt x="1718968" y="832284"/>
                  <a:pt x="1593220" y="720460"/>
                  <a:pt x="1593220" y="531675"/>
                </a:cubicBezTo>
                <a:cubicBezTo>
                  <a:pt x="1593220" y="333555"/>
                  <a:pt x="1716683" y="230970"/>
                  <a:pt x="1882793" y="230970"/>
                </a:cubicBezTo>
                <a:cubicBezTo>
                  <a:pt x="1942763" y="230970"/>
                  <a:pt x="2036241" y="263641"/>
                  <a:pt x="2069749" y="323077"/>
                </a:cubicBezTo>
                <a:close/>
                <a:moveTo>
                  <a:pt x="2345423" y="1"/>
                </a:moveTo>
                <a:cubicBezTo>
                  <a:pt x="2386974" y="13"/>
                  <a:pt x="2428525" y="27707"/>
                  <a:pt x="2428525" y="83047"/>
                </a:cubicBezTo>
                <a:cubicBezTo>
                  <a:pt x="2428525" y="193728"/>
                  <a:pt x="2262321" y="193728"/>
                  <a:pt x="2262321" y="83047"/>
                </a:cubicBezTo>
                <a:cubicBezTo>
                  <a:pt x="2262321" y="27659"/>
                  <a:pt x="2303872" y="-11"/>
                  <a:pt x="2345423" y="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" y="3548063"/>
            <a:ext cx="5486400" cy="981075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title goes here</a:t>
            </a:r>
          </a:p>
          <a:p>
            <a:pPr lvl="1"/>
            <a:r>
              <a:rPr lang="en-GB"/>
              <a:t>Subtitle // Date here</a:t>
            </a:r>
          </a:p>
        </p:txBody>
      </p:sp>
    </p:spTree>
    <p:extLst>
      <p:ext uri="{BB962C8B-B14F-4D97-AF65-F5344CB8AC3E}">
        <p14:creationId xmlns:p14="http://schemas.microsoft.com/office/powerpoint/2010/main" val="3340078801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ie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00F3E78-2B98-7C49-B46E-A733CA3043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8A646979-CD1E-1D4C-85F5-624B90BE03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" y="2615139"/>
            <a:ext cx="3322320" cy="537997"/>
          </a:xfrm>
          <a:custGeom>
            <a:avLst/>
            <a:gdLst>
              <a:gd name="connsiteX0" fmla="*/ 1895453 w 5168519"/>
              <a:gd name="connsiteY0" fmla="*/ 363844 h 836961"/>
              <a:gd name="connsiteX1" fmla="*/ 1733628 w 5168519"/>
              <a:gd name="connsiteY1" fmla="*/ 531675 h 836961"/>
              <a:gd name="connsiteX2" fmla="*/ 1895453 w 5168519"/>
              <a:gd name="connsiteY2" fmla="*/ 700648 h 836961"/>
              <a:gd name="connsiteX3" fmla="*/ 2060515 w 5168519"/>
              <a:gd name="connsiteY3" fmla="*/ 531675 h 836961"/>
              <a:gd name="connsiteX4" fmla="*/ 2060568 w 5168519"/>
              <a:gd name="connsiteY4" fmla="*/ 525121 h 836961"/>
              <a:gd name="connsiteX5" fmla="*/ 1895453 w 5168519"/>
              <a:gd name="connsiteY5" fmla="*/ 363844 h 836961"/>
              <a:gd name="connsiteX6" fmla="*/ 3942071 w 5168519"/>
              <a:gd name="connsiteY6" fmla="*/ 362702 h 836961"/>
              <a:gd name="connsiteX7" fmla="*/ 3787480 w 5168519"/>
              <a:gd name="connsiteY7" fmla="*/ 532818 h 836961"/>
              <a:gd name="connsiteX8" fmla="*/ 3905939 w 5168519"/>
              <a:gd name="connsiteY8" fmla="*/ 698118 h 836961"/>
              <a:gd name="connsiteX9" fmla="*/ 3941976 w 5168519"/>
              <a:gd name="connsiteY9" fmla="*/ 701782 h 836961"/>
              <a:gd name="connsiteX10" fmla="*/ 3941881 w 5168519"/>
              <a:gd name="connsiteY10" fmla="*/ 701792 h 836961"/>
              <a:gd name="connsiteX11" fmla="*/ 3942071 w 5168519"/>
              <a:gd name="connsiteY11" fmla="*/ 701792 h 836961"/>
              <a:gd name="connsiteX12" fmla="*/ 3941976 w 5168519"/>
              <a:gd name="connsiteY12" fmla="*/ 701782 h 836961"/>
              <a:gd name="connsiteX13" fmla="*/ 3978022 w 5168519"/>
              <a:gd name="connsiteY13" fmla="*/ 698067 h 836961"/>
              <a:gd name="connsiteX14" fmla="*/ 4096662 w 5168519"/>
              <a:gd name="connsiteY14" fmla="*/ 532818 h 836961"/>
              <a:gd name="connsiteX15" fmla="*/ 3942071 w 5168519"/>
              <a:gd name="connsiteY15" fmla="*/ 362702 h 836961"/>
              <a:gd name="connsiteX16" fmla="*/ 2787112 w 5168519"/>
              <a:gd name="connsiteY16" fmla="*/ 357654 h 836961"/>
              <a:gd name="connsiteX17" fmla="*/ 2618623 w 5168519"/>
              <a:gd name="connsiteY17" fmla="*/ 531294 h 836961"/>
              <a:gd name="connsiteX18" fmla="*/ 2787112 w 5168519"/>
              <a:gd name="connsiteY18" fmla="*/ 706078 h 836961"/>
              <a:gd name="connsiteX19" fmla="*/ 2787112 w 5168519"/>
              <a:gd name="connsiteY19" fmla="*/ 706459 h 836961"/>
              <a:gd name="connsiteX20" fmla="*/ 2787112 w 5168519"/>
              <a:gd name="connsiteY20" fmla="*/ 357654 h 836961"/>
              <a:gd name="connsiteX21" fmla="*/ 1257575 w 5168519"/>
              <a:gd name="connsiteY21" fmla="*/ 353748 h 836961"/>
              <a:gd name="connsiteX22" fmla="*/ 1098319 w 5168519"/>
              <a:gd name="connsiteY22" fmla="*/ 465667 h 836961"/>
              <a:gd name="connsiteX23" fmla="*/ 1405217 w 5168519"/>
              <a:gd name="connsiteY23" fmla="*/ 465667 h 836961"/>
              <a:gd name="connsiteX24" fmla="*/ 1257575 w 5168519"/>
              <a:gd name="connsiteY24" fmla="*/ 353748 h 836961"/>
              <a:gd name="connsiteX25" fmla="*/ 2275077 w 5168519"/>
              <a:gd name="connsiteY25" fmla="*/ 242687 h 836961"/>
              <a:gd name="connsiteX26" fmla="*/ 2415770 w 5168519"/>
              <a:gd name="connsiteY26" fmla="*/ 242687 h 836961"/>
              <a:gd name="connsiteX27" fmla="*/ 2415770 w 5168519"/>
              <a:gd name="connsiteY27" fmla="*/ 819521 h 836961"/>
              <a:gd name="connsiteX28" fmla="*/ 2275077 w 5168519"/>
              <a:gd name="connsiteY28" fmla="*/ 819521 h 836961"/>
              <a:gd name="connsiteX29" fmla="*/ 4568241 w 5168519"/>
              <a:gd name="connsiteY29" fmla="*/ 234400 h 836961"/>
              <a:gd name="connsiteX30" fmla="*/ 4736730 w 5168519"/>
              <a:gd name="connsiteY30" fmla="*/ 341651 h 836961"/>
              <a:gd name="connsiteX31" fmla="*/ 4927113 w 5168519"/>
              <a:gd name="connsiteY31" fmla="*/ 236877 h 836961"/>
              <a:gd name="connsiteX32" fmla="*/ 5168519 w 5168519"/>
              <a:gd name="connsiteY32" fmla="*/ 509482 h 836961"/>
              <a:gd name="connsiteX33" fmla="*/ 5168519 w 5168519"/>
              <a:gd name="connsiteY33" fmla="*/ 819140 h 836961"/>
              <a:gd name="connsiteX34" fmla="*/ 5027826 w 5168519"/>
              <a:gd name="connsiteY34" fmla="*/ 819140 h 836961"/>
              <a:gd name="connsiteX35" fmla="*/ 5027826 w 5168519"/>
              <a:gd name="connsiteY35" fmla="*/ 509482 h 836961"/>
              <a:gd name="connsiteX36" fmla="*/ 4920450 w 5168519"/>
              <a:gd name="connsiteY36" fmla="*/ 369655 h 836961"/>
              <a:gd name="connsiteX37" fmla="*/ 4796701 w 5168519"/>
              <a:gd name="connsiteY37" fmla="*/ 511863 h 836961"/>
              <a:gd name="connsiteX38" fmla="*/ 4796701 w 5168519"/>
              <a:gd name="connsiteY38" fmla="*/ 819140 h 836961"/>
              <a:gd name="connsiteX39" fmla="*/ 4656008 w 5168519"/>
              <a:gd name="connsiteY39" fmla="*/ 819140 h 836961"/>
              <a:gd name="connsiteX40" fmla="*/ 4656008 w 5168519"/>
              <a:gd name="connsiteY40" fmla="*/ 511863 h 836961"/>
              <a:gd name="connsiteX41" fmla="*/ 4539493 w 5168519"/>
              <a:gd name="connsiteY41" fmla="*/ 367369 h 836961"/>
              <a:gd name="connsiteX42" fmla="*/ 4418314 w 5168519"/>
              <a:gd name="connsiteY42" fmla="*/ 511863 h 836961"/>
              <a:gd name="connsiteX43" fmla="*/ 4418314 w 5168519"/>
              <a:gd name="connsiteY43" fmla="*/ 819140 h 836961"/>
              <a:gd name="connsiteX44" fmla="*/ 4277526 w 5168519"/>
              <a:gd name="connsiteY44" fmla="*/ 819140 h 836961"/>
              <a:gd name="connsiteX45" fmla="*/ 4277526 w 5168519"/>
              <a:gd name="connsiteY45" fmla="*/ 243734 h 836961"/>
              <a:gd name="connsiteX46" fmla="*/ 4407939 w 5168519"/>
              <a:gd name="connsiteY46" fmla="*/ 243734 h 836961"/>
              <a:gd name="connsiteX47" fmla="*/ 4418314 w 5168519"/>
              <a:gd name="connsiteY47" fmla="*/ 313648 h 836961"/>
              <a:gd name="connsiteX48" fmla="*/ 4568241 w 5168519"/>
              <a:gd name="connsiteY48" fmla="*/ 234400 h 836961"/>
              <a:gd name="connsiteX49" fmla="*/ 290715 w 5168519"/>
              <a:gd name="connsiteY49" fmla="*/ 234400 h 836961"/>
              <a:gd name="connsiteX50" fmla="*/ 459204 w 5168519"/>
              <a:gd name="connsiteY50" fmla="*/ 341651 h 836961"/>
              <a:gd name="connsiteX51" fmla="*/ 649587 w 5168519"/>
              <a:gd name="connsiteY51" fmla="*/ 236877 h 836961"/>
              <a:gd name="connsiteX52" fmla="*/ 890707 w 5168519"/>
              <a:gd name="connsiteY52" fmla="*/ 509482 h 836961"/>
              <a:gd name="connsiteX53" fmla="*/ 890707 w 5168519"/>
              <a:gd name="connsiteY53" fmla="*/ 819140 h 836961"/>
              <a:gd name="connsiteX54" fmla="*/ 750300 w 5168519"/>
              <a:gd name="connsiteY54" fmla="*/ 819140 h 836961"/>
              <a:gd name="connsiteX55" fmla="*/ 750300 w 5168519"/>
              <a:gd name="connsiteY55" fmla="*/ 509482 h 836961"/>
              <a:gd name="connsiteX56" fmla="*/ 642924 w 5168519"/>
              <a:gd name="connsiteY56" fmla="*/ 369655 h 836961"/>
              <a:gd name="connsiteX57" fmla="*/ 519175 w 5168519"/>
              <a:gd name="connsiteY57" fmla="*/ 511863 h 836961"/>
              <a:gd name="connsiteX58" fmla="*/ 519175 w 5168519"/>
              <a:gd name="connsiteY58" fmla="*/ 819140 h 836961"/>
              <a:gd name="connsiteX59" fmla="*/ 378482 w 5168519"/>
              <a:gd name="connsiteY59" fmla="*/ 819140 h 836961"/>
              <a:gd name="connsiteX60" fmla="*/ 378482 w 5168519"/>
              <a:gd name="connsiteY60" fmla="*/ 511863 h 836961"/>
              <a:gd name="connsiteX61" fmla="*/ 261967 w 5168519"/>
              <a:gd name="connsiteY61" fmla="*/ 367369 h 836961"/>
              <a:gd name="connsiteX62" fmla="*/ 140788 w 5168519"/>
              <a:gd name="connsiteY62" fmla="*/ 511863 h 836961"/>
              <a:gd name="connsiteX63" fmla="*/ 140788 w 5168519"/>
              <a:gd name="connsiteY63" fmla="*/ 819140 h 836961"/>
              <a:gd name="connsiteX64" fmla="*/ 0 w 5168519"/>
              <a:gd name="connsiteY64" fmla="*/ 819140 h 836961"/>
              <a:gd name="connsiteX65" fmla="*/ 0 w 5168519"/>
              <a:gd name="connsiteY65" fmla="*/ 243830 h 836961"/>
              <a:gd name="connsiteX66" fmla="*/ 130412 w 5168519"/>
              <a:gd name="connsiteY66" fmla="*/ 243830 h 836961"/>
              <a:gd name="connsiteX67" fmla="*/ 140788 w 5168519"/>
              <a:gd name="connsiteY67" fmla="*/ 313648 h 836961"/>
              <a:gd name="connsiteX68" fmla="*/ 290715 w 5168519"/>
              <a:gd name="connsiteY68" fmla="*/ 234400 h 836961"/>
              <a:gd name="connsiteX69" fmla="*/ 3940929 w 5168519"/>
              <a:gd name="connsiteY69" fmla="*/ 233352 h 836961"/>
              <a:gd name="connsiteX70" fmla="*/ 4238307 w 5168519"/>
              <a:gd name="connsiteY70" fmla="*/ 532818 h 836961"/>
              <a:gd name="connsiteX71" fmla="*/ 3941786 w 5168519"/>
              <a:gd name="connsiteY71" fmla="*/ 832284 h 836961"/>
              <a:gd name="connsiteX72" fmla="*/ 3646692 w 5168519"/>
              <a:gd name="connsiteY72" fmla="*/ 532818 h 836961"/>
              <a:gd name="connsiteX73" fmla="*/ 3940929 w 5168519"/>
              <a:gd name="connsiteY73" fmla="*/ 233352 h 836961"/>
              <a:gd name="connsiteX74" fmla="*/ 2774737 w 5168519"/>
              <a:gd name="connsiteY74" fmla="*/ 230590 h 836961"/>
              <a:gd name="connsiteX75" fmla="*/ 2955601 w 5168519"/>
              <a:gd name="connsiteY75" fmla="*/ 323840 h 836961"/>
              <a:gd name="connsiteX76" fmla="*/ 2960456 w 5168519"/>
              <a:gd name="connsiteY76" fmla="*/ 244973 h 836961"/>
              <a:gd name="connsiteX77" fmla="*/ 3095152 w 5168519"/>
              <a:gd name="connsiteY77" fmla="*/ 244973 h 836961"/>
              <a:gd name="connsiteX78" fmla="*/ 3095152 w 5168519"/>
              <a:gd name="connsiteY78" fmla="*/ 819521 h 836961"/>
              <a:gd name="connsiteX79" fmla="*/ 2962455 w 5168519"/>
              <a:gd name="connsiteY79" fmla="*/ 819521 h 836961"/>
              <a:gd name="connsiteX80" fmla="*/ 2955601 w 5168519"/>
              <a:gd name="connsiteY80" fmla="*/ 735606 h 836961"/>
              <a:gd name="connsiteX81" fmla="*/ 2770930 w 5168519"/>
              <a:gd name="connsiteY81" fmla="*/ 836952 h 836961"/>
              <a:gd name="connsiteX82" fmla="*/ 2477930 w 5168519"/>
              <a:gd name="connsiteY82" fmla="*/ 531675 h 836961"/>
              <a:gd name="connsiteX83" fmla="*/ 2774737 w 5168519"/>
              <a:gd name="connsiteY83" fmla="*/ 230590 h 836961"/>
              <a:gd name="connsiteX84" fmla="*/ 3437461 w 5168519"/>
              <a:gd name="connsiteY84" fmla="*/ 228685 h 836961"/>
              <a:gd name="connsiteX85" fmla="*/ 3642885 w 5168519"/>
              <a:gd name="connsiteY85" fmla="*/ 313743 h 836961"/>
              <a:gd name="connsiteX86" fmla="*/ 3553976 w 5168519"/>
              <a:gd name="connsiteY86" fmla="*/ 408136 h 836961"/>
              <a:gd name="connsiteX87" fmla="*/ 3439746 w 5168519"/>
              <a:gd name="connsiteY87" fmla="*/ 362702 h 836961"/>
              <a:gd name="connsiteX88" fmla="*/ 3275921 w 5168519"/>
              <a:gd name="connsiteY88" fmla="*/ 532818 h 836961"/>
              <a:gd name="connsiteX89" fmla="*/ 3437747 w 5168519"/>
              <a:gd name="connsiteY89" fmla="*/ 700649 h 836961"/>
              <a:gd name="connsiteX90" fmla="*/ 3561782 w 5168519"/>
              <a:gd name="connsiteY90" fmla="*/ 652833 h 836961"/>
              <a:gd name="connsiteX91" fmla="*/ 3656402 w 5168519"/>
              <a:gd name="connsiteY91" fmla="*/ 746083 h 836961"/>
              <a:gd name="connsiteX92" fmla="*/ 3437461 w 5168519"/>
              <a:gd name="connsiteY92" fmla="*/ 836952 h 836961"/>
              <a:gd name="connsiteX93" fmla="*/ 3135228 w 5168519"/>
              <a:gd name="connsiteY93" fmla="*/ 532818 h 836961"/>
              <a:gd name="connsiteX94" fmla="*/ 3437461 w 5168519"/>
              <a:gd name="connsiteY94" fmla="*/ 228685 h 836961"/>
              <a:gd name="connsiteX95" fmla="*/ 1252910 w 5168519"/>
              <a:gd name="connsiteY95" fmla="*/ 227542 h 836961"/>
              <a:gd name="connsiteX96" fmla="*/ 1540198 w 5168519"/>
              <a:gd name="connsiteY96" fmla="*/ 582920 h 836961"/>
              <a:gd name="connsiteX97" fmla="*/ 1096415 w 5168519"/>
              <a:gd name="connsiteY97" fmla="*/ 582920 h 836961"/>
              <a:gd name="connsiteX98" fmla="*/ 1266047 w 5168519"/>
              <a:gd name="connsiteY98" fmla="*/ 705316 h 836961"/>
              <a:gd name="connsiteX99" fmla="*/ 1418353 w 5168519"/>
              <a:gd name="connsiteY99" fmla="*/ 651690 h 836961"/>
              <a:gd name="connsiteX100" fmla="*/ 1507928 w 5168519"/>
              <a:gd name="connsiteY100" fmla="*/ 741416 h 836961"/>
              <a:gd name="connsiteX101" fmla="*/ 1263286 w 5168519"/>
              <a:gd name="connsiteY101" fmla="*/ 834666 h 836961"/>
              <a:gd name="connsiteX102" fmla="*/ 950582 w 5168519"/>
              <a:gd name="connsiteY102" fmla="*/ 528151 h 836961"/>
              <a:gd name="connsiteX103" fmla="*/ 1252910 w 5168519"/>
              <a:gd name="connsiteY103" fmla="*/ 227542 h 836961"/>
              <a:gd name="connsiteX104" fmla="*/ 2069749 w 5168519"/>
              <a:gd name="connsiteY104" fmla="*/ 4942 h 836961"/>
              <a:gd name="connsiteX105" fmla="*/ 2210728 w 5168519"/>
              <a:gd name="connsiteY105" fmla="*/ 4942 h 836961"/>
              <a:gd name="connsiteX106" fmla="*/ 2210728 w 5168519"/>
              <a:gd name="connsiteY106" fmla="*/ 819520 h 836961"/>
              <a:gd name="connsiteX107" fmla="*/ 2079268 w 5168519"/>
              <a:gd name="connsiteY107" fmla="*/ 819520 h 836961"/>
              <a:gd name="connsiteX108" fmla="*/ 2069749 w 5168519"/>
              <a:gd name="connsiteY108" fmla="*/ 740272 h 836961"/>
              <a:gd name="connsiteX109" fmla="*/ 1886315 w 5168519"/>
              <a:gd name="connsiteY109" fmla="*/ 832284 h 836961"/>
              <a:gd name="connsiteX110" fmla="*/ 1593220 w 5168519"/>
              <a:gd name="connsiteY110" fmla="*/ 531675 h 836961"/>
              <a:gd name="connsiteX111" fmla="*/ 1882793 w 5168519"/>
              <a:gd name="connsiteY111" fmla="*/ 230970 h 836961"/>
              <a:gd name="connsiteX112" fmla="*/ 2069749 w 5168519"/>
              <a:gd name="connsiteY112" fmla="*/ 323077 h 836961"/>
              <a:gd name="connsiteX113" fmla="*/ 2345423 w 5168519"/>
              <a:gd name="connsiteY113" fmla="*/ 1 h 836961"/>
              <a:gd name="connsiteX114" fmla="*/ 2428525 w 5168519"/>
              <a:gd name="connsiteY114" fmla="*/ 83047 h 836961"/>
              <a:gd name="connsiteX115" fmla="*/ 2262321 w 5168519"/>
              <a:gd name="connsiteY115" fmla="*/ 83047 h 836961"/>
              <a:gd name="connsiteX116" fmla="*/ 2345423 w 5168519"/>
              <a:gd name="connsiteY116" fmla="*/ 1 h 836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5168519" h="836961">
                <a:moveTo>
                  <a:pt x="1895453" y="363844"/>
                </a:moveTo>
                <a:cubicBezTo>
                  <a:pt x="1805116" y="363844"/>
                  <a:pt x="1733628" y="427947"/>
                  <a:pt x="1733628" y="531675"/>
                </a:cubicBezTo>
                <a:cubicBezTo>
                  <a:pt x="1733628" y="631877"/>
                  <a:pt x="1805497" y="700648"/>
                  <a:pt x="1895453" y="700648"/>
                </a:cubicBezTo>
                <a:cubicBezTo>
                  <a:pt x="1984362" y="700648"/>
                  <a:pt x="2060515" y="635402"/>
                  <a:pt x="2060515" y="531675"/>
                </a:cubicBezTo>
                <a:cubicBezTo>
                  <a:pt x="2060576" y="529491"/>
                  <a:pt x="2060594" y="527306"/>
                  <a:pt x="2060568" y="525121"/>
                </a:cubicBezTo>
                <a:cubicBezTo>
                  <a:pt x="2059481" y="434963"/>
                  <a:pt x="1985556" y="362756"/>
                  <a:pt x="1895453" y="363844"/>
                </a:cubicBezTo>
                <a:close/>
                <a:moveTo>
                  <a:pt x="3942071" y="362702"/>
                </a:moveTo>
                <a:cubicBezTo>
                  <a:pt x="3840502" y="362702"/>
                  <a:pt x="3787480" y="445378"/>
                  <a:pt x="3787480" y="532818"/>
                </a:cubicBezTo>
                <a:cubicBezTo>
                  <a:pt x="3787480" y="609328"/>
                  <a:pt x="3827201" y="681316"/>
                  <a:pt x="3905939" y="698118"/>
                </a:cubicBezTo>
                <a:lnTo>
                  <a:pt x="3941976" y="701782"/>
                </a:lnTo>
                <a:lnTo>
                  <a:pt x="3941881" y="701792"/>
                </a:lnTo>
                <a:lnTo>
                  <a:pt x="3942071" y="701792"/>
                </a:lnTo>
                <a:lnTo>
                  <a:pt x="3941976" y="701782"/>
                </a:lnTo>
                <a:lnTo>
                  <a:pt x="3978022" y="698067"/>
                </a:lnTo>
                <a:cubicBezTo>
                  <a:pt x="4056797" y="681045"/>
                  <a:pt x="4096662" y="608244"/>
                  <a:pt x="4096662" y="532818"/>
                </a:cubicBezTo>
                <a:cubicBezTo>
                  <a:pt x="4096662" y="446617"/>
                  <a:pt x="4036692" y="362702"/>
                  <a:pt x="3942071" y="362702"/>
                </a:cubicBezTo>
                <a:close/>
                <a:moveTo>
                  <a:pt x="2787112" y="357654"/>
                </a:moveTo>
                <a:cubicBezTo>
                  <a:pt x="2693634" y="357654"/>
                  <a:pt x="2618623" y="421757"/>
                  <a:pt x="2618623" y="531294"/>
                </a:cubicBezTo>
                <a:cubicBezTo>
                  <a:pt x="2618623" y="640832"/>
                  <a:pt x="2693634" y="706078"/>
                  <a:pt x="2787112" y="706078"/>
                </a:cubicBezTo>
                <a:lnTo>
                  <a:pt x="2787112" y="706459"/>
                </a:lnTo>
                <a:cubicBezTo>
                  <a:pt x="3008623" y="706459"/>
                  <a:pt x="3008623" y="358035"/>
                  <a:pt x="2787112" y="357654"/>
                </a:cubicBezTo>
                <a:close/>
                <a:moveTo>
                  <a:pt x="1257575" y="353748"/>
                </a:moveTo>
                <a:cubicBezTo>
                  <a:pt x="1181421" y="353748"/>
                  <a:pt x="1119071" y="391086"/>
                  <a:pt x="1098319" y="465667"/>
                </a:cubicBezTo>
                <a:lnTo>
                  <a:pt x="1405217" y="465667"/>
                </a:lnTo>
                <a:cubicBezTo>
                  <a:pt x="1395983" y="391086"/>
                  <a:pt x="1338297" y="353748"/>
                  <a:pt x="1257575" y="353748"/>
                </a:cubicBezTo>
                <a:close/>
                <a:moveTo>
                  <a:pt x="2275077" y="242687"/>
                </a:moveTo>
                <a:lnTo>
                  <a:pt x="2415770" y="242687"/>
                </a:lnTo>
                <a:lnTo>
                  <a:pt x="2415770" y="819521"/>
                </a:lnTo>
                <a:lnTo>
                  <a:pt x="2275077" y="819521"/>
                </a:lnTo>
                <a:close/>
                <a:moveTo>
                  <a:pt x="4568241" y="234400"/>
                </a:moveTo>
                <a:cubicBezTo>
                  <a:pt x="4636398" y="234400"/>
                  <a:pt x="4704460" y="262403"/>
                  <a:pt x="4736730" y="341651"/>
                </a:cubicBezTo>
                <a:cubicBezTo>
                  <a:pt x="4787562" y="260117"/>
                  <a:pt x="4853340" y="236877"/>
                  <a:pt x="4927113" y="236877"/>
                </a:cubicBezTo>
                <a:cubicBezTo>
                  <a:pt x="5088653" y="236877"/>
                  <a:pt x="5168233" y="337079"/>
                  <a:pt x="5168519" y="509482"/>
                </a:cubicBezTo>
                <a:lnTo>
                  <a:pt x="5168519" y="819140"/>
                </a:lnTo>
                <a:lnTo>
                  <a:pt x="5027826" y="819140"/>
                </a:lnTo>
                <a:lnTo>
                  <a:pt x="5027826" y="509482"/>
                </a:lnTo>
                <a:cubicBezTo>
                  <a:pt x="5027826" y="433758"/>
                  <a:pt x="4996603" y="369655"/>
                  <a:pt x="4920450" y="369655"/>
                </a:cubicBezTo>
                <a:cubicBezTo>
                  <a:pt x="4844296" y="369655"/>
                  <a:pt x="4796701" y="435663"/>
                  <a:pt x="4796701" y="511863"/>
                </a:cubicBezTo>
                <a:lnTo>
                  <a:pt x="4796701" y="819140"/>
                </a:lnTo>
                <a:lnTo>
                  <a:pt x="4656008" y="819140"/>
                </a:lnTo>
                <a:lnTo>
                  <a:pt x="4656008" y="511863"/>
                </a:lnTo>
                <a:cubicBezTo>
                  <a:pt x="4656008" y="436140"/>
                  <a:pt x="4615647" y="367369"/>
                  <a:pt x="4539493" y="367369"/>
                </a:cubicBezTo>
                <a:cubicBezTo>
                  <a:pt x="4463340" y="367369"/>
                  <a:pt x="4418314" y="435663"/>
                  <a:pt x="4418314" y="511863"/>
                </a:cubicBezTo>
                <a:lnTo>
                  <a:pt x="4418314" y="819140"/>
                </a:lnTo>
                <a:lnTo>
                  <a:pt x="4277526" y="819140"/>
                </a:lnTo>
                <a:lnTo>
                  <a:pt x="4277526" y="243734"/>
                </a:lnTo>
                <a:lnTo>
                  <a:pt x="4407939" y="243734"/>
                </a:lnTo>
                <a:lnTo>
                  <a:pt x="4418314" y="313648"/>
                </a:lnTo>
                <a:cubicBezTo>
                  <a:pt x="4448300" y="255355"/>
                  <a:pt x="4514077" y="234400"/>
                  <a:pt x="4568241" y="234400"/>
                </a:cubicBezTo>
                <a:close/>
                <a:moveTo>
                  <a:pt x="290715" y="234400"/>
                </a:moveTo>
                <a:cubicBezTo>
                  <a:pt x="358872" y="234400"/>
                  <a:pt x="426934" y="262403"/>
                  <a:pt x="459204" y="341651"/>
                </a:cubicBezTo>
                <a:cubicBezTo>
                  <a:pt x="510036" y="260117"/>
                  <a:pt x="575718" y="236877"/>
                  <a:pt x="649587" y="236877"/>
                </a:cubicBezTo>
                <a:cubicBezTo>
                  <a:pt x="811127" y="236877"/>
                  <a:pt x="890707" y="337079"/>
                  <a:pt x="890707" y="509482"/>
                </a:cubicBezTo>
                <a:lnTo>
                  <a:pt x="890707" y="819140"/>
                </a:lnTo>
                <a:lnTo>
                  <a:pt x="750300" y="819140"/>
                </a:lnTo>
                <a:lnTo>
                  <a:pt x="750300" y="509482"/>
                </a:lnTo>
                <a:cubicBezTo>
                  <a:pt x="750300" y="433758"/>
                  <a:pt x="719077" y="369655"/>
                  <a:pt x="642924" y="369655"/>
                </a:cubicBezTo>
                <a:cubicBezTo>
                  <a:pt x="566770" y="369655"/>
                  <a:pt x="519175" y="435663"/>
                  <a:pt x="519175" y="511863"/>
                </a:cubicBezTo>
                <a:lnTo>
                  <a:pt x="519175" y="819140"/>
                </a:lnTo>
                <a:lnTo>
                  <a:pt x="378482" y="819140"/>
                </a:lnTo>
                <a:lnTo>
                  <a:pt x="378482" y="511863"/>
                </a:lnTo>
                <a:cubicBezTo>
                  <a:pt x="378482" y="436140"/>
                  <a:pt x="338120" y="367369"/>
                  <a:pt x="261967" y="367369"/>
                </a:cubicBezTo>
                <a:cubicBezTo>
                  <a:pt x="185814" y="367369"/>
                  <a:pt x="140788" y="435663"/>
                  <a:pt x="140788" y="511863"/>
                </a:cubicBezTo>
                <a:lnTo>
                  <a:pt x="140788" y="819140"/>
                </a:lnTo>
                <a:lnTo>
                  <a:pt x="0" y="819140"/>
                </a:lnTo>
                <a:lnTo>
                  <a:pt x="0" y="243830"/>
                </a:lnTo>
                <a:lnTo>
                  <a:pt x="130412" y="243830"/>
                </a:lnTo>
                <a:lnTo>
                  <a:pt x="140788" y="313648"/>
                </a:lnTo>
                <a:cubicBezTo>
                  <a:pt x="170774" y="255355"/>
                  <a:pt x="236551" y="234400"/>
                  <a:pt x="290715" y="234400"/>
                </a:cubicBezTo>
                <a:close/>
                <a:moveTo>
                  <a:pt x="3940929" y="233352"/>
                </a:moveTo>
                <a:cubicBezTo>
                  <a:pt x="4121793" y="233352"/>
                  <a:pt x="4238307" y="367369"/>
                  <a:pt x="4238307" y="532818"/>
                </a:cubicBezTo>
                <a:cubicBezTo>
                  <a:pt x="4238307" y="698267"/>
                  <a:pt x="4126077" y="832284"/>
                  <a:pt x="3941786" y="832284"/>
                </a:cubicBezTo>
                <a:cubicBezTo>
                  <a:pt x="3757495" y="832284"/>
                  <a:pt x="3646692" y="697124"/>
                  <a:pt x="3646692" y="532818"/>
                </a:cubicBezTo>
                <a:cubicBezTo>
                  <a:pt x="3646692" y="368512"/>
                  <a:pt x="3760065" y="233352"/>
                  <a:pt x="3940929" y="233352"/>
                </a:cubicBezTo>
                <a:close/>
                <a:moveTo>
                  <a:pt x="2774737" y="230590"/>
                </a:moveTo>
                <a:cubicBezTo>
                  <a:pt x="2850890" y="230590"/>
                  <a:pt x="2923236" y="266690"/>
                  <a:pt x="2955601" y="323840"/>
                </a:cubicBezTo>
                <a:lnTo>
                  <a:pt x="2960456" y="244973"/>
                </a:lnTo>
                <a:lnTo>
                  <a:pt x="3095152" y="244973"/>
                </a:lnTo>
                <a:lnTo>
                  <a:pt x="3095152" y="819521"/>
                </a:lnTo>
                <a:lnTo>
                  <a:pt x="2962455" y="819521"/>
                </a:lnTo>
                <a:lnTo>
                  <a:pt x="2955601" y="735606"/>
                </a:lnTo>
                <a:cubicBezTo>
                  <a:pt x="2923236" y="803233"/>
                  <a:pt x="2834422" y="835809"/>
                  <a:pt x="2770930" y="836952"/>
                </a:cubicBezTo>
                <a:cubicBezTo>
                  <a:pt x="2602441" y="838095"/>
                  <a:pt x="2477930" y="733224"/>
                  <a:pt x="2477930" y="531675"/>
                </a:cubicBezTo>
                <a:cubicBezTo>
                  <a:pt x="2477930" y="333365"/>
                  <a:pt x="2608247" y="229828"/>
                  <a:pt x="2774737" y="230590"/>
                </a:cubicBezTo>
                <a:close/>
                <a:moveTo>
                  <a:pt x="3437461" y="228685"/>
                </a:moveTo>
                <a:cubicBezTo>
                  <a:pt x="3518184" y="228685"/>
                  <a:pt x="3580534" y="252021"/>
                  <a:pt x="3642885" y="313743"/>
                </a:cubicBezTo>
                <a:lnTo>
                  <a:pt x="3553976" y="408136"/>
                </a:lnTo>
                <a:cubicBezTo>
                  <a:pt x="3522801" y="379414"/>
                  <a:pt x="3482119" y="363233"/>
                  <a:pt x="3439746" y="362702"/>
                </a:cubicBezTo>
                <a:cubicBezTo>
                  <a:pt x="3345126" y="362702"/>
                  <a:pt x="3275921" y="432615"/>
                  <a:pt x="3275921" y="532818"/>
                </a:cubicBezTo>
                <a:cubicBezTo>
                  <a:pt x="3275921" y="642356"/>
                  <a:pt x="3350075" y="700649"/>
                  <a:pt x="3437747" y="700649"/>
                </a:cubicBezTo>
                <a:cubicBezTo>
                  <a:pt x="3483860" y="702191"/>
                  <a:pt x="3528623" y="684935"/>
                  <a:pt x="3561782" y="652833"/>
                </a:cubicBezTo>
                <a:lnTo>
                  <a:pt x="3656402" y="746083"/>
                </a:lnTo>
                <a:cubicBezTo>
                  <a:pt x="3590910" y="811329"/>
                  <a:pt x="3521706" y="836952"/>
                  <a:pt x="3437461" y="836952"/>
                </a:cubicBezTo>
                <a:cubicBezTo>
                  <a:pt x="3272494" y="836952"/>
                  <a:pt x="3135228" y="736748"/>
                  <a:pt x="3135228" y="532818"/>
                </a:cubicBezTo>
                <a:cubicBezTo>
                  <a:pt x="3135228" y="328888"/>
                  <a:pt x="3272494" y="228685"/>
                  <a:pt x="3437461" y="228685"/>
                </a:cubicBezTo>
                <a:close/>
                <a:moveTo>
                  <a:pt x="1252910" y="227542"/>
                </a:moveTo>
                <a:cubicBezTo>
                  <a:pt x="1443293" y="227542"/>
                  <a:pt x="1562188" y="346414"/>
                  <a:pt x="1540198" y="582920"/>
                </a:cubicBezTo>
                <a:lnTo>
                  <a:pt x="1096415" y="582920"/>
                </a:lnTo>
                <a:cubicBezTo>
                  <a:pt x="1105649" y="653976"/>
                  <a:pt x="1166762" y="705316"/>
                  <a:pt x="1266047" y="705316"/>
                </a:cubicBezTo>
                <a:cubicBezTo>
                  <a:pt x="1318021" y="705316"/>
                  <a:pt x="1386083" y="685504"/>
                  <a:pt x="1418353" y="651690"/>
                </a:cubicBezTo>
                <a:lnTo>
                  <a:pt x="1507928" y="741416"/>
                </a:lnTo>
                <a:cubicBezTo>
                  <a:pt x="1447958" y="804376"/>
                  <a:pt x="1349815" y="834666"/>
                  <a:pt x="1263286" y="834666"/>
                </a:cubicBezTo>
                <a:cubicBezTo>
                  <a:pt x="1067192" y="834666"/>
                  <a:pt x="950582" y="712269"/>
                  <a:pt x="950582" y="528151"/>
                </a:cubicBezTo>
                <a:cubicBezTo>
                  <a:pt x="950582" y="353367"/>
                  <a:pt x="1068334" y="227542"/>
                  <a:pt x="1252910" y="227542"/>
                </a:cubicBezTo>
                <a:close/>
                <a:moveTo>
                  <a:pt x="2069749" y="4942"/>
                </a:moveTo>
                <a:lnTo>
                  <a:pt x="2210728" y="4942"/>
                </a:lnTo>
                <a:lnTo>
                  <a:pt x="2210728" y="819520"/>
                </a:lnTo>
                <a:lnTo>
                  <a:pt x="2079268" y="819520"/>
                </a:lnTo>
                <a:lnTo>
                  <a:pt x="2069749" y="740272"/>
                </a:lnTo>
                <a:cubicBezTo>
                  <a:pt x="2025866" y="809043"/>
                  <a:pt x="1955519" y="832284"/>
                  <a:pt x="1886315" y="832284"/>
                </a:cubicBezTo>
                <a:cubicBezTo>
                  <a:pt x="1718968" y="832284"/>
                  <a:pt x="1593220" y="720460"/>
                  <a:pt x="1593220" y="531675"/>
                </a:cubicBezTo>
                <a:cubicBezTo>
                  <a:pt x="1593220" y="333555"/>
                  <a:pt x="1716683" y="230970"/>
                  <a:pt x="1882793" y="230970"/>
                </a:cubicBezTo>
                <a:cubicBezTo>
                  <a:pt x="1942763" y="230970"/>
                  <a:pt x="2036241" y="263641"/>
                  <a:pt x="2069749" y="323077"/>
                </a:cubicBezTo>
                <a:close/>
                <a:moveTo>
                  <a:pt x="2345423" y="1"/>
                </a:moveTo>
                <a:cubicBezTo>
                  <a:pt x="2386974" y="13"/>
                  <a:pt x="2428525" y="27707"/>
                  <a:pt x="2428525" y="83047"/>
                </a:cubicBezTo>
                <a:cubicBezTo>
                  <a:pt x="2428525" y="193728"/>
                  <a:pt x="2262321" y="193728"/>
                  <a:pt x="2262321" y="83047"/>
                </a:cubicBezTo>
                <a:cubicBezTo>
                  <a:pt x="2262321" y="27659"/>
                  <a:pt x="2303872" y="-11"/>
                  <a:pt x="2345423" y="1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" y="3548063"/>
            <a:ext cx="5486400" cy="981075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title goes here</a:t>
            </a:r>
          </a:p>
          <a:p>
            <a:pPr lvl="1"/>
            <a:r>
              <a:rPr lang="en-GB"/>
              <a:t>Subtitle // Date her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D2C025E0-A506-1143-A09B-93B6849AD5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895206"/>
            <a:ext cx="5486400" cy="780893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Client Name x</a:t>
            </a:r>
          </a:p>
        </p:txBody>
      </p:sp>
    </p:spTree>
    <p:extLst>
      <p:ext uri="{BB962C8B-B14F-4D97-AF65-F5344CB8AC3E}">
        <p14:creationId xmlns:p14="http://schemas.microsoft.com/office/powerpoint/2010/main" val="1418754247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8909153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395211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asic - whit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7A120D8-5636-9A4F-8906-32FAC15D5D2A}"/>
              </a:ext>
            </a:extLst>
          </p:cNvPr>
          <p:cNvSpPr/>
          <p:nvPr/>
        </p:nvSpPr>
        <p:spPr>
          <a:xfrm>
            <a:off x="0" y="0"/>
            <a:ext cx="12192000" cy="19202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737705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63FF5F25-B55D-EF45-8D4F-5FA1FB0ABF04}"/>
              </a:ext>
            </a:extLst>
          </p:cNvPr>
          <p:cNvSpPr/>
          <p:nvPr/>
        </p:nvSpPr>
        <p:spPr>
          <a:xfrm>
            <a:off x="4029890" y="1920240"/>
            <a:ext cx="8162110" cy="4575810"/>
          </a:xfrm>
          <a:custGeom>
            <a:avLst/>
            <a:gdLst>
              <a:gd name="connsiteX0" fmla="*/ 1143953 w 8162110"/>
              <a:gd name="connsiteY0" fmla="*/ 0 h 4575810"/>
              <a:gd name="connsiteX1" fmla="*/ 8162110 w 8162110"/>
              <a:gd name="connsiteY1" fmla="*/ 0 h 4575810"/>
              <a:gd name="connsiteX2" fmla="*/ 8162110 w 8162110"/>
              <a:gd name="connsiteY2" fmla="*/ 4575810 h 4575810"/>
              <a:gd name="connsiteX3" fmla="*/ 2318110 w 8162110"/>
              <a:gd name="connsiteY3" fmla="*/ 4575810 h 4575810"/>
              <a:gd name="connsiteX4" fmla="*/ 2066110 w 8162110"/>
              <a:gd name="connsiteY4" fmla="*/ 4323810 h 4575810"/>
              <a:gd name="connsiteX5" fmla="*/ 1814110 w 8162110"/>
              <a:gd name="connsiteY5" fmla="*/ 4575810 h 4575810"/>
              <a:gd name="connsiteX6" fmla="*/ 0 w 8162110"/>
              <a:gd name="connsiteY6" fmla="*/ 4575810 h 4575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62110" h="4575810">
                <a:moveTo>
                  <a:pt x="1143953" y="0"/>
                </a:moveTo>
                <a:lnTo>
                  <a:pt x="8162110" y="0"/>
                </a:lnTo>
                <a:lnTo>
                  <a:pt x="8162110" y="4575810"/>
                </a:lnTo>
                <a:lnTo>
                  <a:pt x="2318110" y="4575810"/>
                </a:lnTo>
                <a:cubicBezTo>
                  <a:pt x="2318110" y="4436634"/>
                  <a:pt x="2205286" y="4323810"/>
                  <a:pt x="2066110" y="4323810"/>
                </a:cubicBezTo>
                <a:cubicBezTo>
                  <a:pt x="1926934" y="4323810"/>
                  <a:pt x="1814110" y="4436634"/>
                  <a:pt x="1814110" y="4575810"/>
                </a:cubicBezTo>
                <a:lnTo>
                  <a:pt x="0" y="4575810"/>
                </a:lnTo>
                <a:close/>
              </a:path>
            </a:pathLst>
          </a:cu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07FEBA9-C2CA-8346-AF90-6D5EF450509E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1124037299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AD76E50-EFA7-1C46-804E-CB0D4D316B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965834" cy="6497638"/>
          </a:xfrm>
          <a:custGeom>
            <a:avLst/>
            <a:gdLst>
              <a:gd name="connsiteX0" fmla="*/ 0 w 3965834"/>
              <a:gd name="connsiteY0" fmla="*/ 0 h 6497638"/>
              <a:gd name="connsiteX1" fmla="*/ 3965834 w 3965834"/>
              <a:gd name="connsiteY1" fmla="*/ 0 h 6497638"/>
              <a:gd name="connsiteX2" fmla="*/ 2341425 w 3965834"/>
              <a:gd name="connsiteY2" fmla="*/ 6497638 h 6497638"/>
              <a:gd name="connsiteX3" fmla="*/ 0 w 396583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65834" h="6497638">
                <a:moveTo>
                  <a:pt x="0" y="0"/>
                </a:moveTo>
                <a:lnTo>
                  <a:pt x="3965834" y="0"/>
                </a:lnTo>
                <a:lnTo>
                  <a:pt x="234142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3018270" cy="2441944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2270" y="609600"/>
            <a:ext cx="7511396" cy="563874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2057376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E98D378-AB82-9D45-BF79-EC8EF8269A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3965834" cy="6497638"/>
          </a:xfrm>
          <a:custGeom>
            <a:avLst/>
            <a:gdLst>
              <a:gd name="connsiteX0" fmla="*/ 0 w 3965834"/>
              <a:gd name="connsiteY0" fmla="*/ 0 h 6497638"/>
              <a:gd name="connsiteX1" fmla="*/ 3965834 w 3965834"/>
              <a:gd name="connsiteY1" fmla="*/ 0 h 6497638"/>
              <a:gd name="connsiteX2" fmla="*/ 2341425 w 3965834"/>
              <a:gd name="connsiteY2" fmla="*/ 6497638 h 6497638"/>
              <a:gd name="connsiteX3" fmla="*/ 0 w 396583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65834" h="6497638">
                <a:moveTo>
                  <a:pt x="0" y="0"/>
                </a:moveTo>
                <a:lnTo>
                  <a:pt x="3965834" y="0"/>
                </a:lnTo>
                <a:lnTo>
                  <a:pt x="234142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3018270" cy="24419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2270" y="609600"/>
            <a:ext cx="7511396" cy="563874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36C455E-8F77-4547-BEB5-D5A8EEA43578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901365584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336293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362725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9CDF396-1F79-0A43-A175-442AB7F6FB1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61840" y="362"/>
            <a:ext cx="6583680" cy="6497638"/>
          </a:xfrm>
          <a:custGeom>
            <a:avLst/>
            <a:gdLst>
              <a:gd name="connsiteX0" fmla="*/ 1624410 w 6583680"/>
              <a:gd name="connsiteY0" fmla="*/ 0 h 6497638"/>
              <a:gd name="connsiteX1" fmla="*/ 6583680 w 6583680"/>
              <a:gd name="connsiteY1" fmla="*/ 0 h 6497638"/>
              <a:gd name="connsiteX2" fmla="*/ 4959271 w 6583680"/>
              <a:gd name="connsiteY2" fmla="*/ 6497638 h 6497638"/>
              <a:gd name="connsiteX3" fmla="*/ 1785964 w 6583680"/>
              <a:gd name="connsiteY3" fmla="*/ 6497638 h 6497638"/>
              <a:gd name="connsiteX4" fmla="*/ 1786160 w 6583680"/>
              <a:gd name="connsiteY4" fmla="*/ 6495688 h 6497638"/>
              <a:gd name="connsiteX5" fmla="*/ 1534160 w 6583680"/>
              <a:gd name="connsiteY5" fmla="*/ 6243688 h 6497638"/>
              <a:gd name="connsiteX6" fmla="*/ 1282160 w 6583680"/>
              <a:gd name="connsiteY6" fmla="*/ 6495688 h 6497638"/>
              <a:gd name="connsiteX7" fmla="*/ 1282357 w 6583680"/>
              <a:gd name="connsiteY7" fmla="*/ 6497638 h 6497638"/>
              <a:gd name="connsiteX8" fmla="*/ 0 w 658368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583680" h="6497638">
                <a:moveTo>
                  <a:pt x="1624410" y="0"/>
                </a:moveTo>
                <a:lnTo>
                  <a:pt x="6583680" y="0"/>
                </a:lnTo>
                <a:lnTo>
                  <a:pt x="4959271" y="6497638"/>
                </a:lnTo>
                <a:lnTo>
                  <a:pt x="1785964" y="6497638"/>
                </a:lnTo>
                <a:lnTo>
                  <a:pt x="1786160" y="6495688"/>
                </a:lnTo>
                <a:cubicBezTo>
                  <a:pt x="1786160" y="6356512"/>
                  <a:pt x="1673336" y="6243688"/>
                  <a:pt x="1534160" y="6243688"/>
                </a:cubicBezTo>
                <a:cubicBezTo>
                  <a:pt x="1394984" y="6243688"/>
                  <a:pt x="1282160" y="6356512"/>
                  <a:pt x="1282160" y="6495688"/>
                </a:cubicBezTo>
                <a:lnTo>
                  <a:pt x="1282357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1605003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Basic -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5392949-F42B-1349-B6ED-F209823B198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1365923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9741514 w 12192000"/>
              <a:gd name="connsiteY3" fmla="*/ 6497638 h 6497638"/>
              <a:gd name="connsiteX4" fmla="*/ 0 w 12192000"/>
              <a:gd name="connsiteY4" fmla="*/ 0 h 6497638"/>
              <a:gd name="connsiteX5" fmla="*/ 5866986 w 12192000"/>
              <a:gd name="connsiteY5" fmla="*/ 0 h 6497638"/>
              <a:gd name="connsiteX6" fmla="*/ 4242577 w 12192000"/>
              <a:gd name="connsiteY6" fmla="*/ 6497638 h 6497638"/>
              <a:gd name="connsiteX7" fmla="*/ 0 w 12192000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497638">
                <a:moveTo>
                  <a:pt x="11365923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9741514" y="6497638"/>
                </a:lnTo>
                <a:close/>
                <a:moveTo>
                  <a:pt x="0" y="0"/>
                </a:moveTo>
                <a:lnTo>
                  <a:pt x="5866986" y="0"/>
                </a:lnTo>
                <a:lnTo>
                  <a:pt x="4242577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401200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224744CA-31FB-8D46-BA94-61401A91EF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4948039" cy="6497638"/>
          </a:xfrm>
          <a:custGeom>
            <a:avLst/>
            <a:gdLst>
              <a:gd name="connsiteX0" fmla="*/ 0 w 4948039"/>
              <a:gd name="connsiteY0" fmla="*/ 0 h 6497638"/>
              <a:gd name="connsiteX1" fmla="*/ 1045171 w 4948039"/>
              <a:gd name="connsiteY1" fmla="*/ 0 h 6497638"/>
              <a:gd name="connsiteX2" fmla="*/ 2641600 w 4948039"/>
              <a:gd name="connsiteY2" fmla="*/ 0 h 6497638"/>
              <a:gd name="connsiteX3" fmla="*/ 4948039 w 4948039"/>
              <a:gd name="connsiteY3" fmla="*/ 0 h 6497638"/>
              <a:gd name="connsiteX4" fmla="*/ 3323630 w 4948039"/>
              <a:gd name="connsiteY4" fmla="*/ 6497638 h 6497638"/>
              <a:gd name="connsiteX5" fmla="*/ 0 w 4948039"/>
              <a:gd name="connsiteY5" fmla="*/ 6497638 h 6497638"/>
              <a:gd name="connsiteX6" fmla="*/ 0 w 4948039"/>
              <a:gd name="connsiteY6" fmla="*/ 4180683 h 6497638"/>
              <a:gd name="connsiteX7" fmla="*/ 0 w 4948039"/>
              <a:gd name="connsiteY7" fmla="*/ 1391920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48039" h="6497638">
                <a:moveTo>
                  <a:pt x="0" y="0"/>
                </a:moveTo>
                <a:lnTo>
                  <a:pt x="1045171" y="0"/>
                </a:lnTo>
                <a:lnTo>
                  <a:pt x="2641600" y="0"/>
                </a:lnTo>
                <a:lnTo>
                  <a:pt x="4948039" y="0"/>
                </a:lnTo>
                <a:lnTo>
                  <a:pt x="3323630" y="6497638"/>
                </a:lnTo>
                <a:lnTo>
                  <a:pt x="0" y="6497638"/>
                </a:lnTo>
                <a:lnTo>
                  <a:pt x="0" y="4180683"/>
                </a:lnTo>
                <a:lnTo>
                  <a:pt x="0" y="139192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1756ECA7-E48C-0348-9B3B-5EB99CC875D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43962" y="0"/>
            <a:ext cx="4948039" cy="6497638"/>
          </a:xfrm>
          <a:custGeom>
            <a:avLst/>
            <a:gdLst>
              <a:gd name="connsiteX0" fmla="*/ 1624410 w 4948039"/>
              <a:gd name="connsiteY0" fmla="*/ 0 h 6497638"/>
              <a:gd name="connsiteX1" fmla="*/ 4948039 w 4948039"/>
              <a:gd name="connsiteY1" fmla="*/ 0 h 6497638"/>
              <a:gd name="connsiteX2" fmla="*/ 4948039 w 4948039"/>
              <a:gd name="connsiteY2" fmla="*/ 2316957 h 6497638"/>
              <a:gd name="connsiteX3" fmla="*/ 4948039 w 4948039"/>
              <a:gd name="connsiteY3" fmla="*/ 5598160 h 6497638"/>
              <a:gd name="connsiteX4" fmla="*/ 4948039 w 4948039"/>
              <a:gd name="connsiteY4" fmla="*/ 6497638 h 6497638"/>
              <a:gd name="connsiteX5" fmla="*/ 3902869 w 4948039"/>
              <a:gd name="connsiteY5" fmla="*/ 6497638 h 6497638"/>
              <a:gd name="connsiteX6" fmla="*/ 2306439 w 4948039"/>
              <a:gd name="connsiteY6" fmla="*/ 6497638 h 6497638"/>
              <a:gd name="connsiteX7" fmla="*/ 0 w 4948039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48039" h="6497638">
                <a:moveTo>
                  <a:pt x="1624410" y="0"/>
                </a:moveTo>
                <a:lnTo>
                  <a:pt x="4948039" y="0"/>
                </a:lnTo>
                <a:lnTo>
                  <a:pt x="4948039" y="2316957"/>
                </a:lnTo>
                <a:lnTo>
                  <a:pt x="4948039" y="5598160"/>
                </a:lnTo>
                <a:lnTo>
                  <a:pt x="4948039" y="6497638"/>
                </a:lnTo>
                <a:lnTo>
                  <a:pt x="3902869" y="6497638"/>
                </a:lnTo>
                <a:lnTo>
                  <a:pt x="2306439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C3FACA75-D11C-A445-BACF-8256874A598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38639" y="0"/>
            <a:ext cx="6114723" cy="6497638"/>
          </a:xfrm>
          <a:custGeom>
            <a:avLst/>
            <a:gdLst>
              <a:gd name="connsiteX0" fmla="*/ 1624409 w 6114723"/>
              <a:gd name="connsiteY0" fmla="*/ 0 h 6497638"/>
              <a:gd name="connsiteX1" fmla="*/ 6114723 w 6114723"/>
              <a:gd name="connsiteY1" fmla="*/ 0 h 6497638"/>
              <a:gd name="connsiteX2" fmla="*/ 4490314 w 6114723"/>
              <a:gd name="connsiteY2" fmla="*/ 6497638 h 6497638"/>
              <a:gd name="connsiteX3" fmla="*/ 3309201 w 6114723"/>
              <a:gd name="connsiteY3" fmla="*/ 6497638 h 6497638"/>
              <a:gd name="connsiteX4" fmla="*/ 3309361 w 6114723"/>
              <a:gd name="connsiteY4" fmla="*/ 6496050 h 6497638"/>
              <a:gd name="connsiteX5" fmla="*/ 3057361 w 6114723"/>
              <a:gd name="connsiteY5" fmla="*/ 6244050 h 6497638"/>
              <a:gd name="connsiteX6" fmla="*/ 2805361 w 6114723"/>
              <a:gd name="connsiteY6" fmla="*/ 6496050 h 6497638"/>
              <a:gd name="connsiteX7" fmla="*/ 2805521 w 6114723"/>
              <a:gd name="connsiteY7" fmla="*/ 6497638 h 6497638"/>
              <a:gd name="connsiteX8" fmla="*/ 0 w 6114723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14723" h="6497638">
                <a:moveTo>
                  <a:pt x="1624409" y="0"/>
                </a:moveTo>
                <a:lnTo>
                  <a:pt x="6114723" y="0"/>
                </a:lnTo>
                <a:lnTo>
                  <a:pt x="4490314" y="6497638"/>
                </a:lnTo>
                <a:lnTo>
                  <a:pt x="3309201" y="6497638"/>
                </a:lnTo>
                <a:lnTo>
                  <a:pt x="3309361" y="6496050"/>
                </a:lnTo>
                <a:cubicBezTo>
                  <a:pt x="3309361" y="6356874"/>
                  <a:pt x="3196537" y="6244050"/>
                  <a:pt x="3057361" y="6244050"/>
                </a:cubicBezTo>
                <a:cubicBezTo>
                  <a:pt x="2918185" y="6244050"/>
                  <a:pt x="2805361" y="6356874"/>
                  <a:pt x="2805361" y="6496050"/>
                </a:cubicBezTo>
                <a:lnTo>
                  <a:pt x="2805521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itle 26">
            <a:extLst>
              <a:ext uri="{FF2B5EF4-FFF2-40B4-BE49-F238E27FC236}">
                <a16:creationId xmlns:a16="http://schemas.microsoft.com/office/drawing/2014/main" id="{850E4CA7-3414-3447-AE99-8AC0E9CEB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48717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42744605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0E8297A-1925-3442-B39E-AF6799BA71B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138616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2048891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54AEB6E9-5A32-C542-B22F-8A95F294D1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00660" y="0"/>
            <a:ext cx="8091340" cy="6497638"/>
          </a:xfrm>
          <a:custGeom>
            <a:avLst/>
            <a:gdLst>
              <a:gd name="connsiteX0" fmla="*/ 0 w 8091340"/>
              <a:gd name="connsiteY0" fmla="*/ 0 h 6497638"/>
              <a:gd name="connsiteX1" fmla="*/ 8091340 w 8091340"/>
              <a:gd name="connsiteY1" fmla="*/ 0 h 6497638"/>
              <a:gd name="connsiteX2" fmla="*/ 8091340 w 8091340"/>
              <a:gd name="connsiteY2" fmla="*/ 6497638 h 6497638"/>
              <a:gd name="connsiteX3" fmla="*/ 2247180 w 8091340"/>
              <a:gd name="connsiteY3" fmla="*/ 6497638 h 6497638"/>
              <a:gd name="connsiteX4" fmla="*/ 2247340 w 8091340"/>
              <a:gd name="connsiteY4" fmla="*/ 6496050 h 6497638"/>
              <a:gd name="connsiteX5" fmla="*/ 1995340 w 8091340"/>
              <a:gd name="connsiteY5" fmla="*/ 6244050 h 6497638"/>
              <a:gd name="connsiteX6" fmla="*/ 1743340 w 8091340"/>
              <a:gd name="connsiteY6" fmla="*/ 6496050 h 6497638"/>
              <a:gd name="connsiteX7" fmla="*/ 1743500 w 8091340"/>
              <a:gd name="connsiteY7" fmla="*/ 6497638 h 6497638"/>
              <a:gd name="connsiteX8" fmla="*/ 0 w 809134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91340" h="6497638">
                <a:moveTo>
                  <a:pt x="0" y="0"/>
                </a:moveTo>
                <a:lnTo>
                  <a:pt x="8091340" y="0"/>
                </a:lnTo>
                <a:lnTo>
                  <a:pt x="8091340" y="6497638"/>
                </a:lnTo>
                <a:lnTo>
                  <a:pt x="2247180" y="6497638"/>
                </a:lnTo>
                <a:lnTo>
                  <a:pt x="2247340" y="6496050"/>
                </a:lnTo>
                <a:cubicBezTo>
                  <a:pt x="2247340" y="6356874"/>
                  <a:pt x="2134516" y="6244050"/>
                  <a:pt x="1995340" y="6244050"/>
                </a:cubicBezTo>
                <a:cubicBezTo>
                  <a:pt x="1856164" y="6244050"/>
                  <a:pt x="1743340" y="6356874"/>
                  <a:pt x="1743340" y="6496050"/>
                </a:cubicBezTo>
                <a:lnTo>
                  <a:pt x="1743500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2436813"/>
            <a:ext cx="2514241" cy="311443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52214" y="609600"/>
            <a:ext cx="5831452" cy="56387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31E4E05-C83C-1C4F-A555-318083D89DB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207830" y="0"/>
            <a:ext cx="3622914" cy="6497638"/>
          </a:xfrm>
          <a:custGeom>
            <a:avLst/>
            <a:gdLst>
              <a:gd name="connsiteX0" fmla="*/ 0 w 3622914"/>
              <a:gd name="connsiteY0" fmla="*/ 0 h 6497638"/>
              <a:gd name="connsiteX1" fmla="*/ 1998505 w 3622914"/>
              <a:gd name="connsiteY1" fmla="*/ 0 h 6497638"/>
              <a:gd name="connsiteX2" fmla="*/ 3622914 w 3622914"/>
              <a:gd name="connsiteY2" fmla="*/ 6497638 h 6497638"/>
              <a:gd name="connsiteX3" fmla="*/ 1624409 w 362291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22914" h="6497638">
                <a:moveTo>
                  <a:pt x="0" y="0"/>
                </a:moveTo>
                <a:lnTo>
                  <a:pt x="1998505" y="0"/>
                </a:lnTo>
                <a:lnTo>
                  <a:pt x="3622914" y="6497638"/>
                </a:lnTo>
                <a:lnTo>
                  <a:pt x="1624409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EB06D63-175D-524A-8C0D-287C5255EA82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1897702166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A058B1E-06B9-194A-BDEE-F49C12F6683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21868" y="1063625"/>
            <a:ext cx="6570133" cy="4767263"/>
          </a:xfrm>
          <a:custGeom>
            <a:avLst/>
            <a:gdLst>
              <a:gd name="connsiteX0" fmla="*/ 1191816 w 6570133"/>
              <a:gd name="connsiteY0" fmla="*/ 0 h 4767263"/>
              <a:gd name="connsiteX1" fmla="*/ 6570133 w 6570133"/>
              <a:gd name="connsiteY1" fmla="*/ 0 h 4767263"/>
              <a:gd name="connsiteX2" fmla="*/ 6570133 w 6570133"/>
              <a:gd name="connsiteY2" fmla="*/ 4767263 h 4767263"/>
              <a:gd name="connsiteX3" fmla="*/ 0 w 6570133"/>
              <a:gd name="connsiteY3" fmla="*/ 4767263 h 4767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70133" h="4767263">
                <a:moveTo>
                  <a:pt x="1191816" y="0"/>
                </a:moveTo>
                <a:lnTo>
                  <a:pt x="6570133" y="0"/>
                </a:lnTo>
                <a:lnTo>
                  <a:pt x="6570133" y="4767263"/>
                </a:lnTo>
                <a:lnTo>
                  <a:pt x="0" y="4767263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356893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0241678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1345453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7513084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9E272C5-D13A-D942-B952-1D833D58E87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31150" y="0"/>
            <a:ext cx="4060849" cy="6498000"/>
          </a:xfrm>
          <a:custGeom>
            <a:avLst/>
            <a:gdLst>
              <a:gd name="connsiteX0" fmla="*/ 1624500 w 4060848"/>
              <a:gd name="connsiteY0" fmla="*/ 0 h 6497999"/>
              <a:gd name="connsiteX1" fmla="*/ 4060848 w 4060848"/>
              <a:gd name="connsiteY1" fmla="*/ 0 h 6497999"/>
              <a:gd name="connsiteX2" fmla="*/ 4060848 w 4060848"/>
              <a:gd name="connsiteY2" fmla="*/ 6497999 h 6497999"/>
              <a:gd name="connsiteX3" fmla="*/ 0 w 4060848"/>
              <a:gd name="connsiteY3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0848" h="6497999">
                <a:moveTo>
                  <a:pt x="1624500" y="0"/>
                </a:moveTo>
                <a:lnTo>
                  <a:pt x="4060848" y="0"/>
                </a:lnTo>
                <a:lnTo>
                  <a:pt x="4060848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8869646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9049165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1D84973-19DB-3C48-A938-6E1DACD5C28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33084" y="0"/>
            <a:ext cx="9758915" cy="6501600"/>
          </a:xfrm>
          <a:custGeom>
            <a:avLst/>
            <a:gdLst>
              <a:gd name="connsiteX0" fmla="*/ 1624501 w 9758915"/>
              <a:gd name="connsiteY0" fmla="*/ 0 h 6501600"/>
              <a:gd name="connsiteX1" fmla="*/ 2400172 w 9758915"/>
              <a:gd name="connsiteY1" fmla="*/ 0 h 6501600"/>
              <a:gd name="connsiteX2" fmla="*/ 4060849 w 9758915"/>
              <a:gd name="connsiteY2" fmla="*/ 0 h 6501600"/>
              <a:gd name="connsiteX3" fmla="*/ 9758915 w 9758915"/>
              <a:gd name="connsiteY3" fmla="*/ 0 h 6501600"/>
              <a:gd name="connsiteX4" fmla="*/ 9758915 w 9758915"/>
              <a:gd name="connsiteY4" fmla="*/ 6501600 h 6501600"/>
              <a:gd name="connsiteX5" fmla="*/ 4060849 w 9758915"/>
              <a:gd name="connsiteY5" fmla="*/ 6501600 h 6501600"/>
              <a:gd name="connsiteX6" fmla="*/ 3913796 w 9758915"/>
              <a:gd name="connsiteY6" fmla="*/ 6501600 h 6501600"/>
              <a:gd name="connsiteX7" fmla="*/ 3914916 w 9758915"/>
              <a:gd name="connsiteY7" fmla="*/ 6496050 h 6501600"/>
              <a:gd name="connsiteX8" fmla="*/ 3662916 w 9758915"/>
              <a:gd name="connsiteY8" fmla="*/ 6244050 h 6501600"/>
              <a:gd name="connsiteX9" fmla="*/ 3410916 w 9758915"/>
              <a:gd name="connsiteY9" fmla="*/ 6496050 h 6501600"/>
              <a:gd name="connsiteX10" fmla="*/ 3412037 w 9758915"/>
              <a:gd name="connsiteY10" fmla="*/ 6501600 h 6501600"/>
              <a:gd name="connsiteX11" fmla="*/ 2400172 w 9758915"/>
              <a:gd name="connsiteY11" fmla="*/ 6501600 h 6501600"/>
              <a:gd name="connsiteX12" fmla="*/ 0 w 9758915"/>
              <a:gd name="connsiteY12" fmla="*/ 6501600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758915" h="6501600">
                <a:moveTo>
                  <a:pt x="1624501" y="0"/>
                </a:moveTo>
                <a:lnTo>
                  <a:pt x="2400172" y="0"/>
                </a:lnTo>
                <a:lnTo>
                  <a:pt x="4060849" y="0"/>
                </a:lnTo>
                <a:lnTo>
                  <a:pt x="9758915" y="0"/>
                </a:lnTo>
                <a:lnTo>
                  <a:pt x="9758915" y="6501600"/>
                </a:lnTo>
                <a:lnTo>
                  <a:pt x="4060849" y="6501600"/>
                </a:lnTo>
                <a:lnTo>
                  <a:pt x="3913796" y="6501600"/>
                </a:lnTo>
                <a:lnTo>
                  <a:pt x="3914916" y="6496050"/>
                </a:lnTo>
                <a:cubicBezTo>
                  <a:pt x="3914916" y="6356874"/>
                  <a:pt x="3802092" y="6244050"/>
                  <a:pt x="3662916" y="6244050"/>
                </a:cubicBezTo>
                <a:cubicBezTo>
                  <a:pt x="3523740" y="6244050"/>
                  <a:pt x="3410916" y="6356874"/>
                  <a:pt x="3410916" y="6496050"/>
                </a:cubicBezTo>
                <a:lnTo>
                  <a:pt x="3412037" y="6501600"/>
                </a:lnTo>
                <a:lnTo>
                  <a:pt x="2400172" y="6501600"/>
                </a:lnTo>
                <a:lnTo>
                  <a:pt x="0" y="650160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3115162" cy="341238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3961683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2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2781729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5CB573B-2568-6246-9F01-9C335F7962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231118" cy="6497638"/>
          </a:xfrm>
          <a:custGeom>
            <a:avLst/>
            <a:gdLst>
              <a:gd name="connsiteX0" fmla="*/ 0 w 6231118"/>
              <a:gd name="connsiteY0" fmla="*/ 0 h 6497638"/>
              <a:gd name="connsiteX1" fmla="*/ 6231118 w 6231118"/>
              <a:gd name="connsiteY1" fmla="*/ 0 h 6497638"/>
              <a:gd name="connsiteX2" fmla="*/ 4606709 w 6231118"/>
              <a:gd name="connsiteY2" fmla="*/ 6497638 h 6497638"/>
              <a:gd name="connsiteX3" fmla="*/ 0 w 6231118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31118" h="6497638">
                <a:moveTo>
                  <a:pt x="0" y="0"/>
                </a:moveTo>
                <a:lnTo>
                  <a:pt x="6231118" y="0"/>
                </a:lnTo>
                <a:lnTo>
                  <a:pt x="4606709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9F9F02D-42E6-8E46-8C4B-F728CEA443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48113" y="609600"/>
            <a:ext cx="7635875" cy="5376421"/>
          </a:xfrm>
          <a:solidFill>
            <a:schemeClr val="accent5"/>
          </a:solidFill>
        </p:spPr>
        <p:txBody>
          <a:bodyPr>
            <a:norm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330048" cy="2548380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23208" y="871920"/>
            <a:ext cx="7360458" cy="511410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0019679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50/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476D85D8-44D1-3346-A88C-E1C4318EBD4E}"/>
              </a:ext>
            </a:extLst>
          </p:cNvPr>
          <p:cNvSpPr/>
          <p:nvPr/>
        </p:nvSpPr>
        <p:spPr>
          <a:xfrm>
            <a:off x="0" y="0"/>
            <a:ext cx="6096000" cy="64980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197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4" y="6244050"/>
                  <a:pt x="5844000" y="6356874"/>
                  <a:pt x="5844000" y="6496050"/>
                </a:cubicBezTo>
                <a:lnTo>
                  <a:pt x="5844197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304753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5304753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1741548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448284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6339603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image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52569D9-CE1C-EC4F-B932-F0ADE6E84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5999" y="1802342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BC6EDB3-DD20-244A-A980-6A1FD175B5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9" y="2466686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2F01659-8CFF-1A43-B4AE-8DD102C457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3131030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543A65C-73BE-6543-8FD4-911F06EFCC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9" y="3795374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4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16C2078-9A7F-AA44-B351-57E689A3C2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5999" y="4459718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5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DC7FCC43-6167-0241-8E00-E6CDF85B9C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69354" y="1802342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2DFF8DF8-0C9B-8B46-B0B4-2371F11D3103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969354" y="2466686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4A9762A-B8E1-2D48-820F-6869A93BB63F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969353" y="3153100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D1594578-C69C-4343-8929-33038993FB8E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969353" y="3806964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5B61243-FB61-9E4D-A5DF-2275F80DD1E7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6969353" y="4457103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230284561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E3FC6C-2F1E-FE41-BDBC-E6D440A602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5000" y="1704600"/>
            <a:ext cx="7902000" cy="3448800"/>
          </a:xfrm>
          <a:solidFill>
            <a:schemeClr val="bg1"/>
          </a:solidFill>
        </p:spPr>
        <p:txBody>
          <a:bodyPr lIns="360000" rIns="5184000" anchor="ctr">
            <a:norm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1"/>
            </a:lvl1pPr>
          </a:lstStyle>
          <a:p>
            <a:pPr lvl="0"/>
            <a:r>
              <a:rPr lang="en-GB"/>
              <a:t>Agenda slid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96E59D0-2D90-6947-A2A4-A20F81D6202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94599" y="1704600"/>
            <a:ext cx="4752402" cy="3448800"/>
          </a:xfrm>
          <a:noFill/>
        </p:spPr>
        <p:txBody>
          <a:bodyPr lIns="90000" rIns="90000" anchor="ctr"/>
          <a:lstStyle>
            <a:lvl1pPr marL="622300" indent="-622300">
              <a:lnSpc>
                <a:spcPct val="80000"/>
              </a:lnSpc>
              <a:spcAft>
                <a:spcPts val="1800"/>
              </a:spcAft>
              <a:buClr>
                <a:schemeClr val="accent4"/>
              </a:buClr>
              <a:buFont typeface="+mj-lt"/>
              <a:buAutoNum type="arabicPeriod"/>
              <a:tabLst/>
              <a:defRPr sz="2400" b="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824784972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/ statement -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5585" y="1704806"/>
            <a:ext cx="7900830" cy="3448388"/>
          </a:xfrm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4616495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0 / 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55C9D7FD-4372-984B-82EC-1682388A058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86575" y="0"/>
            <a:ext cx="6905425" cy="6496050"/>
          </a:xfrm>
          <a:custGeom>
            <a:avLst/>
            <a:gdLst>
              <a:gd name="connsiteX0" fmla="*/ 1674037 w 6905425"/>
              <a:gd name="connsiteY0" fmla="*/ 0 h 6496050"/>
              <a:gd name="connsiteX1" fmla="*/ 6905425 w 6905425"/>
              <a:gd name="connsiteY1" fmla="*/ 0 h 6496050"/>
              <a:gd name="connsiteX2" fmla="*/ 6905425 w 6905425"/>
              <a:gd name="connsiteY2" fmla="*/ 6496050 h 6496050"/>
              <a:gd name="connsiteX3" fmla="*/ 1061425 w 6905425"/>
              <a:gd name="connsiteY3" fmla="*/ 6496050 h 6496050"/>
              <a:gd name="connsiteX4" fmla="*/ 809425 w 6905425"/>
              <a:gd name="connsiteY4" fmla="*/ 6244050 h 6496050"/>
              <a:gd name="connsiteX5" fmla="*/ 557425 w 6905425"/>
              <a:gd name="connsiteY5" fmla="*/ 6496050 h 6496050"/>
              <a:gd name="connsiteX6" fmla="*/ 0 w 6905425"/>
              <a:gd name="connsiteY6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05425" h="6496050">
                <a:moveTo>
                  <a:pt x="1674037" y="0"/>
                </a:moveTo>
                <a:lnTo>
                  <a:pt x="6905425" y="0"/>
                </a:lnTo>
                <a:lnTo>
                  <a:pt x="6905425" y="6496050"/>
                </a:lnTo>
                <a:lnTo>
                  <a:pt x="1061425" y="6496050"/>
                </a:lnTo>
                <a:cubicBezTo>
                  <a:pt x="1061425" y="6356874"/>
                  <a:pt x="948601" y="6244050"/>
                  <a:pt x="809425" y="6244050"/>
                </a:cubicBezTo>
                <a:cubicBezTo>
                  <a:pt x="670249" y="6244050"/>
                  <a:pt x="557425" y="6356874"/>
                  <a:pt x="557425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206A2BC-C7D2-1F4A-8EFA-C1457E5BF1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960612" cy="6497638"/>
          </a:xfrm>
          <a:custGeom>
            <a:avLst/>
            <a:gdLst>
              <a:gd name="connsiteX0" fmla="*/ 0 w 6960612"/>
              <a:gd name="connsiteY0" fmla="*/ 0 h 6497638"/>
              <a:gd name="connsiteX1" fmla="*/ 6960612 w 6960612"/>
              <a:gd name="connsiteY1" fmla="*/ 0 h 6497638"/>
              <a:gd name="connsiteX2" fmla="*/ 5286165 w 6960612"/>
              <a:gd name="connsiteY2" fmla="*/ 6497638 h 6497638"/>
              <a:gd name="connsiteX3" fmla="*/ 0 w 6960612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60612" h="6497638">
                <a:moveTo>
                  <a:pt x="0" y="0"/>
                </a:moveTo>
                <a:lnTo>
                  <a:pt x="6960612" y="0"/>
                </a:lnTo>
                <a:lnTo>
                  <a:pt x="528616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8697FE-A3E1-4148-AE49-9A90AB99A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79858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/ statement - image w/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5585" y="1704806"/>
            <a:ext cx="7900830" cy="3448388"/>
          </a:xfrm>
          <a:solidFill>
            <a:schemeClr val="bg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4973380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quot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200" y="1620078"/>
            <a:ext cx="10965600" cy="3617843"/>
          </a:xfrm>
        </p:spPr>
        <p:txBody>
          <a:bodyPr anchor="ctr"/>
          <a:lstStyle>
            <a:lvl1pPr algn="ctr">
              <a:defRPr b="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Graphic 6">
            <a:extLst>
              <a:ext uri="{FF2B5EF4-FFF2-40B4-BE49-F238E27FC236}">
                <a16:creationId xmlns:a16="http://schemas.microsoft.com/office/drawing/2014/main" id="{6AFF0189-2B17-044A-95A5-0CE65C3B7CF9}"/>
              </a:ext>
            </a:extLst>
          </p:cNvPr>
          <p:cNvSpPr/>
          <p:nvPr/>
        </p:nvSpPr>
        <p:spPr>
          <a:xfrm>
            <a:off x="5877609" y="1210876"/>
            <a:ext cx="441598" cy="301070"/>
          </a:xfrm>
          <a:custGeom>
            <a:avLst/>
            <a:gdLst>
              <a:gd name="connsiteX0" fmla="*/ 0 w 441598"/>
              <a:gd name="connsiteY0" fmla="*/ 200707 h 301070"/>
              <a:gd name="connsiteX1" fmla="*/ 100363 w 441598"/>
              <a:gd name="connsiteY1" fmla="*/ 301070 h 301070"/>
              <a:gd name="connsiteX2" fmla="*/ 200726 w 441598"/>
              <a:gd name="connsiteY2" fmla="*/ 200707 h 301070"/>
              <a:gd name="connsiteX3" fmla="*/ 102389 w 441598"/>
              <a:gd name="connsiteY3" fmla="*/ 100402 h 301070"/>
              <a:gd name="connsiteX4" fmla="*/ 200726 w 441598"/>
              <a:gd name="connsiteY4" fmla="*/ 60204 h 301070"/>
              <a:gd name="connsiteX5" fmla="*/ 200708 w 441598"/>
              <a:gd name="connsiteY5" fmla="*/ 0 h 301070"/>
              <a:gd name="connsiteX6" fmla="*/ 0 w 441598"/>
              <a:gd name="connsiteY6" fmla="*/ 200707 h 301070"/>
              <a:gd name="connsiteX7" fmla="*/ 441579 w 441598"/>
              <a:gd name="connsiteY7" fmla="*/ 0 h 301070"/>
              <a:gd name="connsiteX8" fmla="*/ 240872 w 441598"/>
              <a:gd name="connsiteY8" fmla="*/ 200707 h 301070"/>
              <a:gd name="connsiteX9" fmla="*/ 341235 w 441598"/>
              <a:gd name="connsiteY9" fmla="*/ 301070 h 301070"/>
              <a:gd name="connsiteX10" fmla="*/ 441598 w 441598"/>
              <a:gd name="connsiteY10" fmla="*/ 200707 h 301070"/>
              <a:gd name="connsiteX11" fmla="*/ 343260 w 441598"/>
              <a:gd name="connsiteY11" fmla="*/ 100402 h 301070"/>
              <a:gd name="connsiteX12" fmla="*/ 441598 w 441598"/>
              <a:gd name="connsiteY12" fmla="*/ 60204 h 301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1598" h="301070">
                <a:moveTo>
                  <a:pt x="0" y="200707"/>
                </a:moveTo>
                <a:cubicBezTo>
                  <a:pt x="0" y="256130"/>
                  <a:pt x="44923" y="301070"/>
                  <a:pt x="100363" y="301070"/>
                </a:cubicBezTo>
                <a:cubicBezTo>
                  <a:pt x="155786" y="301070"/>
                  <a:pt x="200726" y="256147"/>
                  <a:pt x="200726" y="200707"/>
                </a:cubicBezTo>
                <a:cubicBezTo>
                  <a:pt x="200726" y="145961"/>
                  <a:pt x="156872" y="101486"/>
                  <a:pt x="102389" y="100402"/>
                </a:cubicBezTo>
                <a:cubicBezTo>
                  <a:pt x="127719" y="75559"/>
                  <a:pt x="162424" y="60204"/>
                  <a:pt x="200726" y="60204"/>
                </a:cubicBezTo>
                <a:lnTo>
                  <a:pt x="200708" y="0"/>
                </a:lnTo>
                <a:cubicBezTo>
                  <a:pt x="89862" y="0"/>
                  <a:pt x="0" y="89866"/>
                  <a:pt x="0" y="200707"/>
                </a:cubicBezTo>
                <a:close/>
                <a:moveTo>
                  <a:pt x="441579" y="0"/>
                </a:moveTo>
                <a:cubicBezTo>
                  <a:pt x="330733" y="0"/>
                  <a:pt x="240872" y="89866"/>
                  <a:pt x="240872" y="200707"/>
                </a:cubicBezTo>
                <a:cubicBezTo>
                  <a:pt x="240872" y="256130"/>
                  <a:pt x="285813" y="301070"/>
                  <a:pt x="341235" y="301070"/>
                </a:cubicBezTo>
                <a:cubicBezTo>
                  <a:pt x="396656" y="301070"/>
                  <a:pt x="441598" y="256147"/>
                  <a:pt x="441598" y="200707"/>
                </a:cubicBezTo>
                <a:cubicBezTo>
                  <a:pt x="441598" y="145961"/>
                  <a:pt x="397744" y="101486"/>
                  <a:pt x="343260" y="100402"/>
                </a:cubicBezTo>
                <a:cubicBezTo>
                  <a:pt x="368590" y="75559"/>
                  <a:pt x="403315" y="60204"/>
                  <a:pt x="441598" y="60204"/>
                </a:cubicBezTo>
                <a:close/>
              </a:path>
            </a:pathLst>
          </a:custGeom>
          <a:solidFill>
            <a:schemeClr val="accent4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" name="Graphic 9">
            <a:extLst>
              <a:ext uri="{FF2B5EF4-FFF2-40B4-BE49-F238E27FC236}">
                <a16:creationId xmlns:a16="http://schemas.microsoft.com/office/drawing/2014/main" id="{8FDACD0F-927F-324F-81B7-9EB5A9A2FA9B}"/>
              </a:ext>
            </a:extLst>
          </p:cNvPr>
          <p:cNvSpPr/>
          <p:nvPr/>
        </p:nvSpPr>
        <p:spPr>
          <a:xfrm>
            <a:off x="5877608" y="5348453"/>
            <a:ext cx="441598" cy="301070"/>
          </a:xfrm>
          <a:custGeom>
            <a:avLst/>
            <a:gdLst>
              <a:gd name="connsiteX0" fmla="*/ 0 w 441598"/>
              <a:gd name="connsiteY0" fmla="*/ 200707 h 301070"/>
              <a:gd name="connsiteX1" fmla="*/ 100363 w 441598"/>
              <a:gd name="connsiteY1" fmla="*/ 301070 h 301070"/>
              <a:gd name="connsiteX2" fmla="*/ 200726 w 441598"/>
              <a:gd name="connsiteY2" fmla="*/ 200707 h 301070"/>
              <a:gd name="connsiteX3" fmla="*/ 102389 w 441598"/>
              <a:gd name="connsiteY3" fmla="*/ 100402 h 301070"/>
              <a:gd name="connsiteX4" fmla="*/ 200726 w 441598"/>
              <a:gd name="connsiteY4" fmla="*/ 60204 h 301070"/>
              <a:gd name="connsiteX5" fmla="*/ 200708 w 441598"/>
              <a:gd name="connsiteY5" fmla="*/ 0 h 301070"/>
              <a:gd name="connsiteX6" fmla="*/ 0 w 441598"/>
              <a:gd name="connsiteY6" fmla="*/ 200707 h 301070"/>
              <a:gd name="connsiteX7" fmla="*/ 441579 w 441598"/>
              <a:gd name="connsiteY7" fmla="*/ 0 h 301070"/>
              <a:gd name="connsiteX8" fmla="*/ 240872 w 441598"/>
              <a:gd name="connsiteY8" fmla="*/ 200707 h 301070"/>
              <a:gd name="connsiteX9" fmla="*/ 341235 w 441598"/>
              <a:gd name="connsiteY9" fmla="*/ 301070 h 301070"/>
              <a:gd name="connsiteX10" fmla="*/ 441598 w 441598"/>
              <a:gd name="connsiteY10" fmla="*/ 200707 h 301070"/>
              <a:gd name="connsiteX11" fmla="*/ 343260 w 441598"/>
              <a:gd name="connsiteY11" fmla="*/ 100402 h 301070"/>
              <a:gd name="connsiteX12" fmla="*/ 441598 w 441598"/>
              <a:gd name="connsiteY12" fmla="*/ 60204 h 301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1598" h="301070">
                <a:moveTo>
                  <a:pt x="0" y="200707"/>
                </a:moveTo>
                <a:cubicBezTo>
                  <a:pt x="0" y="256130"/>
                  <a:pt x="44923" y="301070"/>
                  <a:pt x="100363" y="301070"/>
                </a:cubicBezTo>
                <a:cubicBezTo>
                  <a:pt x="155786" y="301070"/>
                  <a:pt x="200726" y="256147"/>
                  <a:pt x="200726" y="200707"/>
                </a:cubicBezTo>
                <a:cubicBezTo>
                  <a:pt x="200726" y="145961"/>
                  <a:pt x="156872" y="101486"/>
                  <a:pt x="102389" y="100402"/>
                </a:cubicBezTo>
                <a:cubicBezTo>
                  <a:pt x="127719" y="75559"/>
                  <a:pt x="162424" y="60204"/>
                  <a:pt x="200726" y="60204"/>
                </a:cubicBezTo>
                <a:lnTo>
                  <a:pt x="200708" y="0"/>
                </a:lnTo>
                <a:cubicBezTo>
                  <a:pt x="89862" y="0"/>
                  <a:pt x="0" y="89866"/>
                  <a:pt x="0" y="200707"/>
                </a:cubicBezTo>
                <a:close/>
                <a:moveTo>
                  <a:pt x="441579" y="0"/>
                </a:moveTo>
                <a:cubicBezTo>
                  <a:pt x="330733" y="0"/>
                  <a:pt x="240872" y="89866"/>
                  <a:pt x="240872" y="200707"/>
                </a:cubicBezTo>
                <a:cubicBezTo>
                  <a:pt x="240872" y="256130"/>
                  <a:pt x="285813" y="301070"/>
                  <a:pt x="341235" y="301070"/>
                </a:cubicBezTo>
                <a:cubicBezTo>
                  <a:pt x="396656" y="301070"/>
                  <a:pt x="441598" y="256147"/>
                  <a:pt x="441598" y="200707"/>
                </a:cubicBezTo>
                <a:cubicBezTo>
                  <a:pt x="441598" y="145961"/>
                  <a:pt x="397744" y="101486"/>
                  <a:pt x="343260" y="100402"/>
                </a:cubicBezTo>
                <a:cubicBezTo>
                  <a:pt x="368590" y="75559"/>
                  <a:pt x="403315" y="60204"/>
                  <a:pt x="441598" y="60204"/>
                </a:cubicBezTo>
                <a:close/>
              </a:path>
            </a:pathLst>
          </a:custGeom>
          <a:solidFill>
            <a:schemeClr val="accent4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196455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90D2185-5F86-7749-BB4E-183109B402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2192000 w 12192000"/>
              <a:gd name="connsiteY0" fmla="*/ 2425083 h 6497638"/>
              <a:gd name="connsiteX1" fmla="*/ 12192000 w 12192000"/>
              <a:gd name="connsiteY1" fmla="*/ 6496050 h 6497638"/>
              <a:gd name="connsiteX2" fmla="*/ 11143308 w 12192000"/>
              <a:gd name="connsiteY2" fmla="*/ 6496050 h 6497638"/>
              <a:gd name="connsiteX3" fmla="*/ 0 w 12192000"/>
              <a:gd name="connsiteY3" fmla="*/ 0 h 6497638"/>
              <a:gd name="connsiteX4" fmla="*/ 6960612 w 12192000"/>
              <a:gd name="connsiteY4" fmla="*/ 0 h 6497638"/>
              <a:gd name="connsiteX5" fmla="*/ 5286165 w 12192000"/>
              <a:gd name="connsiteY5" fmla="*/ 6497638 h 6497638"/>
              <a:gd name="connsiteX6" fmla="*/ 0 w 12192000"/>
              <a:gd name="connsiteY6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97638">
                <a:moveTo>
                  <a:pt x="12192000" y="2425083"/>
                </a:moveTo>
                <a:lnTo>
                  <a:pt x="12192000" y="6496050"/>
                </a:lnTo>
                <a:lnTo>
                  <a:pt x="11143308" y="6496050"/>
                </a:lnTo>
                <a:close/>
                <a:moveTo>
                  <a:pt x="0" y="0"/>
                </a:moveTo>
                <a:lnTo>
                  <a:pt x="6960612" y="0"/>
                </a:lnTo>
                <a:lnTo>
                  <a:pt x="528616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781921-067E-D84A-964D-D16F6D724D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93766" y="0"/>
            <a:ext cx="6116546" cy="3249000"/>
          </a:xfrm>
        </p:spPr>
        <p:txBody>
          <a:bodyPr tIns="0" bIns="0" anchor="b">
            <a:noAutofit/>
          </a:bodyPr>
          <a:lstStyle>
            <a:lvl1pPr>
              <a:defRPr sz="200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892ADA3-681B-4848-8013-ACCCDEB5DE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7963" y="3081200"/>
            <a:ext cx="4852349" cy="3169219"/>
          </a:xfrm>
        </p:spPr>
        <p:txBody>
          <a:bodyPr>
            <a:noAutofit/>
          </a:bodyPr>
          <a:lstStyle>
            <a:lvl1pPr>
              <a:lnSpc>
                <a:spcPts val="6000"/>
              </a:lnSpc>
              <a:spcAft>
                <a:spcPts val="0"/>
              </a:spcAft>
              <a:defRPr sz="6000" b="1" i="1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3F26965-B205-DB42-AEAF-942D75F53F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69605" y="822037"/>
            <a:ext cx="3524708" cy="1865746"/>
          </a:xfrm>
          <a:custGeom>
            <a:avLst/>
            <a:gdLst>
              <a:gd name="connsiteX0" fmla="*/ 3242518 w 3524708"/>
              <a:gd name="connsiteY0" fmla="*/ 0 h 1865746"/>
              <a:gd name="connsiteX1" fmla="*/ 3524708 w 3524708"/>
              <a:gd name="connsiteY1" fmla="*/ 0 h 1865746"/>
              <a:gd name="connsiteX2" fmla="*/ 3044984 w 3524708"/>
              <a:gd name="connsiteY2" fmla="*/ 1865746 h 1865746"/>
              <a:gd name="connsiteX3" fmla="*/ 2762794 w 3524708"/>
              <a:gd name="connsiteY3" fmla="*/ 1865746 h 1865746"/>
              <a:gd name="connsiteX4" fmla="*/ 2689960 w 3524708"/>
              <a:gd name="connsiteY4" fmla="*/ 0 h 1865746"/>
              <a:gd name="connsiteX5" fmla="*/ 2972150 w 3524708"/>
              <a:gd name="connsiteY5" fmla="*/ 0 h 1865746"/>
              <a:gd name="connsiteX6" fmla="*/ 2492426 w 3524708"/>
              <a:gd name="connsiteY6" fmla="*/ 1865746 h 1865746"/>
              <a:gd name="connsiteX7" fmla="*/ 2210236 w 3524708"/>
              <a:gd name="connsiteY7" fmla="*/ 1865746 h 1865746"/>
              <a:gd name="connsiteX8" fmla="*/ 2137401 w 3524708"/>
              <a:gd name="connsiteY8" fmla="*/ 0 h 1865746"/>
              <a:gd name="connsiteX9" fmla="*/ 2419591 w 3524708"/>
              <a:gd name="connsiteY9" fmla="*/ 0 h 1865746"/>
              <a:gd name="connsiteX10" fmla="*/ 1939867 w 3524708"/>
              <a:gd name="connsiteY10" fmla="*/ 1865746 h 1865746"/>
              <a:gd name="connsiteX11" fmla="*/ 1657677 w 3524708"/>
              <a:gd name="connsiteY11" fmla="*/ 1865746 h 1865746"/>
              <a:gd name="connsiteX12" fmla="*/ 1584842 w 3524708"/>
              <a:gd name="connsiteY12" fmla="*/ 0 h 1865746"/>
              <a:gd name="connsiteX13" fmla="*/ 1867032 w 3524708"/>
              <a:gd name="connsiteY13" fmla="*/ 0 h 1865746"/>
              <a:gd name="connsiteX14" fmla="*/ 1387308 w 3524708"/>
              <a:gd name="connsiteY14" fmla="*/ 1865746 h 1865746"/>
              <a:gd name="connsiteX15" fmla="*/ 1105118 w 3524708"/>
              <a:gd name="connsiteY15" fmla="*/ 1865746 h 1865746"/>
              <a:gd name="connsiteX16" fmla="*/ 1032283 w 3524708"/>
              <a:gd name="connsiteY16" fmla="*/ 0 h 1865746"/>
              <a:gd name="connsiteX17" fmla="*/ 1314473 w 3524708"/>
              <a:gd name="connsiteY17" fmla="*/ 0 h 1865746"/>
              <a:gd name="connsiteX18" fmla="*/ 834749 w 3524708"/>
              <a:gd name="connsiteY18" fmla="*/ 1865746 h 1865746"/>
              <a:gd name="connsiteX19" fmla="*/ 552559 w 3524708"/>
              <a:gd name="connsiteY19" fmla="*/ 1865746 h 1865746"/>
              <a:gd name="connsiteX20" fmla="*/ 479724 w 3524708"/>
              <a:gd name="connsiteY20" fmla="*/ 0 h 1865746"/>
              <a:gd name="connsiteX21" fmla="*/ 761914 w 3524708"/>
              <a:gd name="connsiteY21" fmla="*/ 0 h 1865746"/>
              <a:gd name="connsiteX22" fmla="*/ 282190 w 3524708"/>
              <a:gd name="connsiteY22" fmla="*/ 1865746 h 1865746"/>
              <a:gd name="connsiteX23" fmla="*/ 0 w 3524708"/>
              <a:gd name="connsiteY23" fmla="*/ 1865746 h 1865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524708" h="1865746">
                <a:moveTo>
                  <a:pt x="3242518" y="0"/>
                </a:moveTo>
                <a:lnTo>
                  <a:pt x="3524708" y="0"/>
                </a:lnTo>
                <a:lnTo>
                  <a:pt x="3044984" y="1865746"/>
                </a:lnTo>
                <a:lnTo>
                  <a:pt x="2762794" y="1865746"/>
                </a:lnTo>
                <a:close/>
                <a:moveTo>
                  <a:pt x="2689960" y="0"/>
                </a:moveTo>
                <a:lnTo>
                  <a:pt x="2972150" y="0"/>
                </a:lnTo>
                <a:lnTo>
                  <a:pt x="2492426" y="1865746"/>
                </a:lnTo>
                <a:lnTo>
                  <a:pt x="2210236" y="1865746"/>
                </a:lnTo>
                <a:close/>
                <a:moveTo>
                  <a:pt x="2137401" y="0"/>
                </a:moveTo>
                <a:lnTo>
                  <a:pt x="2419591" y="0"/>
                </a:lnTo>
                <a:lnTo>
                  <a:pt x="1939867" y="1865746"/>
                </a:lnTo>
                <a:lnTo>
                  <a:pt x="1657677" y="1865746"/>
                </a:lnTo>
                <a:close/>
                <a:moveTo>
                  <a:pt x="1584842" y="0"/>
                </a:moveTo>
                <a:lnTo>
                  <a:pt x="1867032" y="0"/>
                </a:lnTo>
                <a:lnTo>
                  <a:pt x="1387308" y="1865746"/>
                </a:lnTo>
                <a:lnTo>
                  <a:pt x="1105118" y="1865746"/>
                </a:lnTo>
                <a:close/>
                <a:moveTo>
                  <a:pt x="1032283" y="0"/>
                </a:moveTo>
                <a:lnTo>
                  <a:pt x="1314473" y="0"/>
                </a:lnTo>
                <a:lnTo>
                  <a:pt x="834749" y="1865746"/>
                </a:lnTo>
                <a:lnTo>
                  <a:pt x="552559" y="1865746"/>
                </a:lnTo>
                <a:close/>
                <a:moveTo>
                  <a:pt x="479724" y="0"/>
                </a:moveTo>
                <a:lnTo>
                  <a:pt x="761914" y="0"/>
                </a:lnTo>
                <a:lnTo>
                  <a:pt x="282190" y="1865746"/>
                </a:lnTo>
                <a:lnTo>
                  <a:pt x="0" y="186574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61302693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divider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A4938D4-7324-F04A-8293-68CFC05B0F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4680000" rIns="4680000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image – then send to back so the gradient overlay is top of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072DD46-3F51-A748-8F94-B6F9001382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1878904" y="-362"/>
            <a:ext cx="7974904" cy="6497638"/>
          </a:xfr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50000" b="1" spc="-30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54E8F8-3509-FA4A-84BE-D7B63C4C46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6257" y="609600"/>
            <a:ext cx="6762967" cy="5635625"/>
          </a:xfrm>
        </p:spPr>
        <p:txBody>
          <a:bodyPr anchor="ctr"/>
          <a:lstStyle>
            <a:lvl1pPr>
              <a:lnSpc>
                <a:spcPts val="6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519952474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- D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6">
            <a:extLst>
              <a:ext uri="{FF2B5EF4-FFF2-40B4-BE49-F238E27FC236}">
                <a16:creationId xmlns:a16="http://schemas.microsoft.com/office/drawing/2014/main" id="{7B3EDD58-5FA3-6140-B17B-40F7C1CD1135}"/>
              </a:ext>
            </a:extLst>
          </p:cNvPr>
          <p:cNvSpPr/>
          <p:nvPr/>
        </p:nvSpPr>
        <p:spPr>
          <a:xfrm>
            <a:off x="6096000" y="0"/>
            <a:ext cx="6098400" cy="650160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496050 h 6496050"/>
              <a:gd name="connsiteX3" fmla="*/ 252000 w 6096000"/>
              <a:gd name="connsiteY3" fmla="*/ 6496050 h 6496050"/>
              <a:gd name="connsiteX4" fmla="*/ 0 w 6096000"/>
              <a:gd name="connsiteY4" fmla="*/ 6244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496050"/>
                </a:lnTo>
                <a:lnTo>
                  <a:pt x="252000" y="6496050"/>
                </a:lnTo>
                <a:cubicBezTo>
                  <a:pt x="252000" y="6356874"/>
                  <a:pt x="139176" y="6244050"/>
                  <a:pt x="0" y="6244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235081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AF442D-09D5-E949-9926-48F727EB85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51C0B5-0FE4-AA45-86C1-CD72BD8791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EDC06073-822D-C148-9EA1-733BA6032B1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32CC8F85-F28A-DB4E-8753-4470623EA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62716F3C-0A12-0A43-AAAF-C19A6B6DA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3062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7698736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3138474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- D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>
            <a:extLst>
              <a:ext uri="{FF2B5EF4-FFF2-40B4-BE49-F238E27FC236}">
                <a16:creationId xmlns:a16="http://schemas.microsoft.com/office/drawing/2014/main" id="{74D4A870-F17A-F442-8E79-D6593E5CEED2}"/>
              </a:ext>
            </a:extLst>
          </p:cNvPr>
          <p:cNvSpPr/>
          <p:nvPr/>
        </p:nvSpPr>
        <p:spPr>
          <a:xfrm flipH="1">
            <a:off x="0" y="0"/>
            <a:ext cx="6098400" cy="650160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496050 h 6496050"/>
              <a:gd name="connsiteX3" fmla="*/ 252000 w 6096000"/>
              <a:gd name="connsiteY3" fmla="*/ 6496050 h 6496050"/>
              <a:gd name="connsiteX4" fmla="*/ 0 w 6096000"/>
              <a:gd name="connsiteY4" fmla="*/ 6244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496050"/>
                </a:lnTo>
                <a:lnTo>
                  <a:pt x="252000" y="6496050"/>
                </a:lnTo>
                <a:cubicBezTo>
                  <a:pt x="252000" y="6356874"/>
                  <a:pt x="139176" y="6244050"/>
                  <a:pt x="0" y="6244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9480605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0318214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57532" y="0"/>
            <a:ext cx="4834469" cy="64980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645180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664518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8071852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4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>
            <a:extLst>
              <a:ext uri="{FF2B5EF4-FFF2-40B4-BE49-F238E27FC236}">
                <a16:creationId xmlns:a16="http://schemas.microsoft.com/office/drawing/2014/main" id="{D7245059-C77A-F54C-A53E-4CBA0C853BFB}"/>
              </a:ext>
            </a:extLst>
          </p:cNvPr>
          <p:cNvSpPr/>
          <p:nvPr/>
        </p:nvSpPr>
        <p:spPr>
          <a:xfrm>
            <a:off x="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48DB6C09-42FA-2A46-BC78-D93D37BEBB29}"/>
              </a:ext>
            </a:extLst>
          </p:cNvPr>
          <p:cNvSpPr/>
          <p:nvPr/>
        </p:nvSpPr>
        <p:spPr>
          <a:xfrm>
            <a:off x="812760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8BD2C5B-4AEB-2742-96C2-7BBFA14B32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400" y="0"/>
            <a:ext cx="4063200" cy="6498000"/>
          </a:xfrm>
          <a:custGeom>
            <a:avLst/>
            <a:gdLst>
              <a:gd name="connsiteX0" fmla="*/ 0 w 4063200"/>
              <a:gd name="connsiteY0" fmla="*/ 0 h 6498000"/>
              <a:gd name="connsiteX1" fmla="*/ 4063200 w 4063200"/>
              <a:gd name="connsiteY1" fmla="*/ 0 h 6498000"/>
              <a:gd name="connsiteX2" fmla="*/ 4063200 w 4063200"/>
              <a:gd name="connsiteY2" fmla="*/ 6498000 h 6498000"/>
              <a:gd name="connsiteX3" fmla="*/ 2283207 w 4063200"/>
              <a:gd name="connsiteY3" fmla="*/ 6498000 h 6498000"/>
              <a:gd name="connsiteX4" fmla="*/ 2283600 w 4063200"/>
              <a:gd name="connsiteY4" fmla="*/ 6496050 h 6498000"/>
              <a:gd name="connsiteX5" fmla="*/ 2031600 w 4063200"/>
              <a:gd name="connsiteY5" fmla="*/ 6244050 h 6498000"/>
              <a:gd name="connsiteX6" fmla="*/ 1779600 w 4063200"/>
              <a:gd name="connsiteY6" fmla="*/ 6496050 h 6498000"/>
              <a:gd name="connsiteX7" fmla="*/ 1779994 w 4063200"/>
              <a:gd name="connsiteY7" fmla="*/ 6498000 h 6498000"/>
              <a:gd name="connsiteX8" fmla="*/ 0 w 40632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3200" h="6498000">
                <a:moveTo>
                  <a:pt x="0" y="0"/>
                </a:moveTo>
                <a:lnTo>
                  <a:pt x="4063200" y="0"/>
                </a:lnTo>
                <a:lnTo>
                  <a:pt x="4063200" y="6498000"/>
                </a:lnTo>
                <a:lnTo>
                  <a:pt x="2283207" y="6498000"/>
                </a:lnTo>
                <a:lnTo>
                  <a:pt x="2283600" y="6496050"/>
                </a:lnTo>
                <a:cubicBezTo>
                  <a:pt x="2283600" y="6356874"/>
                  <a:pt x="2170776" y="6244050"/>
                  <a:pt x="2031600" y="6244050"/>
                </a:cubicBezTo>
                <a:cubicBezTo>
                  <a:pt x="1892425" y="6244050"/>
                  <a:pt x="1779600" y="6356874"/>
                  <a:pt x="1779600" y="6496050"/>
                </a:cubicBezTo>
                <a:lnTo>
                  <a:pt x="17799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D3E5BD-E875-EE4C-9CB4-36F3C3D3E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446335" cy="97498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5ABFEEB8-51F9-0142-A050-4625F632551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98470" y="1584585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9E2A247-90BA-314A-BDCD-0A4AECB670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22325" y="1969477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A3DB6A0-2E22-9F4E-8C30-ECA98F4FDBD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898470" y="3877718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C9E62EE-D701-B347-BBEF-F2599FBBA8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22325" y="4262610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945DC05E-C003-B74C-9DD3-11B31C7A2EB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435679" y="1584585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815B1402-52BD-4944-86EC-993B6CCD1D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09233" y="1969477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l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38615044-966E-9341-99DF-7BCA47F3C02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35679" y="3877718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1E7B9924-E501-1945-9875-2CFFD003587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09233" y="4262610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l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044840397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>
            <a:extLst>
              <a:ext uri="{FF2B5EF4-FFF2-40B4-BE49-F238E27FC236}">
                <a16:creationId xmlns:a16="http://schemas.microsoft.com/office/drawing/2014/main" id="{CA9069D4-BBD5-6840-9646-5955E2C1E9C0}"/>
              </a:ext>
            </a:extLst>
          </p:cNvPr>
          <p:cNvSpPr/>
          <p:nvPr/>
        </p:nvSpPr>
        <p:spPr>
          <a:xfrm>
            <a:off x="0" y="3429000"/>
            <a:ext cx="12192000" cy="3069000"/>
          </a:xfrm>
          <a:custGeom>
            <a:avLst/>
            <a:gdLst>
              <a:gd name="connsiteX0" fmla="*/ 0 w 12192000"/>
              <a:gd name="connsiteY0" fmla="*/ 0 h 3069000"/>
              <a:gd name="connsiteX1" fmla="*/ 12192000 w 12192000"/>
              <a:gd name="connsiteY1" fmla="*/ 0 h 3069000"/>
              <a:gd name="connsiteX2" fmla="*/ 12192000 w 12192000"/>
              <a:gd name="connsiteY2" fmla="*/ 3069000 h 3069000"/>
              <a:gd name="connsiteX3" fmla="*/ 6347607 w 12192000"/>
              <a:gd name="connsiteY3" fmla="*/ 3069000 h 3069000"/>
              <a:gd name="connsiteX4" fmla="*/ 6348000 w 12192000"/>
              <a:gd name="connsiteY4" fmla="*/ 3067050 h 3069000"/>
              <a:gd name="connsiteX5" fmla="*/ 6096000 w 12192000"/>
              <a:gd name="connsiteY5" fmla="*/ 2815050 h 3069000"/>
              <a:gd name="connsiteX6" fmla="*/ 5844000 w 12192000"/>
              <a:gd name="connsiteY6" fmla="*/ 3067050 h 3069000"/>
              <a:gd name="connsiteX7" fmla="*/ 5844394 w 12192000"/>
              <a:gd name="connsiteY7" fmla="*/ 3069000 h 3069000"/>
              <a:gd name="connsiteX8" fmla="*/ 0 w 12192000"/>
              <a:gd name="connsiteY8" fmla="*/ 3069000 h 306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3069000">
                <a:moveTo>
                  <a:pt x="0" y="0"/>
                </a:moveTo>
                <a:lnTo>
                  <a:pt x="12192000" y="0"/>
                </a:lnTo>
                <a:lnTo>
                  <a:pt x="12192000" y="3069000"/>
                </a:lnTo>
                <a:lnTo>
                  <a:pt x="6347607" y="3069000"/>
                </a:lnTo>
                <a:lnTo>
                  <a:pt x="6348000" y="3067050"/>
                </a:lnTo>
                <a:cubicBezTo>
                  <a:pt x="6348000" y="2927874"/>
                  <a:pt x="6235176" y="2815050"/>
                  <a:pt x="6096000" y="2815050"/>
                </a:cubicBezTo>
                <a:cubicBezTo>
                  <a:pt x="5956825" y="2815050"/>
                  <a:pt x="5844000" y="2927874"/>
                  <a:pt x="5844000" y="3067050"/>
                </a:cubicBezTo>
                <a:lnTo>
                  <a:pt x="5844394" y="3069000"/>
                </a:lnTo>
                <a:lnTo>
                  <a:pt x="0" y="3069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88810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645180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88810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904652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04652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420494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20494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36335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36335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292387795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 29">
            <a:extLst>
              <a:ext uri="{FF2B5EF4-FFF2-40B4-BE49-F238E27FC236}">
                <a16:creationId xmlns:a16="http://schemas.microsoft.com/office/drawing/2014/main" id="{B4DB38A8-ED85-1347-B790-9A2BE1DBEF4C}"/>
              </a:ext>
            </a:extLst>
          </p:cNvPr>
          <p:cNvSpPr/>
          <p:nvPr/>
        </p:nvSpPr>
        <p:spPr>
          <a:xfrm>
            <a:off x="0" y="4546834"/>
            <a:ext cx="12192000" cy="1951167"/>
          </a:xfrm>
          <a:custGeom>
            <a:avLst/>
            <a:gdLst>
              <a:gd name="connsiteX0" fmla="*/ 0 w 12192000"/>
              <a:gd name="connsiteY0" fmla="*/ 0 h 1951167"/>
              <a:gd name="connsiteX1" fmla="*/ 12192000 w 12192000"/>
              <a:gd name="connsiteY1" fmla="*/ 0 h 1951167"/>
              <a:gd name="connsiteX2" fmla="*/ 12192000 w 12192000"/>
              <a:gd name="connsiteY2" fmla="*/ 1951167 h 1951167"/>
              <a:gd name="connsiteX3" fmla="*/ 6347607 w 12192000"/>
              <a:gd name="connsiteY3" fmla="*/ 1951167 h 1951167"/>
              <a:gd name="connsiteX4" fmla="*/ 6348000 w 12192000"/>
              <a:gd name="connsiteY4" fmla="*/ 1949217 h 1951167"/>
              <a:gd name="connsiteX5" fmla="*/ 6096000 w 12192000"/>
              <a:gd name="connsiteY5" fmla="*/ 1697217 h 1951167"/>
              <a:gd name="connsiteX6" fmla="*/ 5844000 w 12192000"/>
              <a:gd name="connsiteY6" fmla="*/ 1949217 h 1951167"/>
              <a:gd name="connsiteX7" fmla="*/ 5844394 w 12192000"/>
              <a:gd name="connsiteY7" fmla="*/ 1951167 h 1951167"/>
              <a:gd name="connsiteX8" fmla="*/ 0 w 12192000"/>
              <a:gd name="connsiteY8" fmla="*/ 1951167 h 1951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51167">
                <a:moveTo>
                  <a:pt x="0" y="0"/>
                </a:moveTo>
                <a:lnTo>
                  <a:pt x="12192000" y="0"/>
                </a:lnTo>
                <a:lnTo>
                  <a:pt x="12192000" y="1951167"/>
                </a:lnTo>
                <a:lnTo>
                  <a:pt x="6347607" y="1951167"/>
                </a:lnTo>
                <a:lnTo>
                  <a:pt x="6348000" y="1949217"/>
                </a:lnTo>
                <a:cubicBezTo>
                  <a:pt x="6348000" y="1810041"/>
                  <a:pt x="6235176" y="1697217"/>
                  <a:pt x="6096000" y="1697217"/>
                </a:cubicBezTo>
                <a:cubicBezTo>
                  <a:pt x="5956825" y="1697217"/>
                  <a:pt x="5844000" y="1810041"/>
                  <a:pt x="5844000" y="1949217"/>
                </a:cubicBezTo>
                <a:lnTo>
                  <a:pt x="5844394" y="1951167"/>
                </a:lnTo>
                <a:lnTo>
                  <a:pt x="0" y="195116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71538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1160" cy="85427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1784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87380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47626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03222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3468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19063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79309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89EE7683-3A0A-0B47-9813-78A5473FCC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571538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B55A3A9-FB25-AF40-BC32-AC3C3DA4E6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31784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EDA73697-3874-C344-AAE5-CE24B2383EF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087380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62B0DD7-8060-A542-B772-E1F818A32D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7626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105967BD-F5FD-9F41-9CC6-8784B49815D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603222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DABB33E-69CC-1B46-AC9C-83F4DCC4D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63468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35B3E652-6F5F-B643-9023-FF57D267CD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119063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17B9C40-A873-8740-BC3A-4781CC1D4B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79309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427974970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 33">
            <a:extLst>
              <a:ext uri="{FF2B5EF4-FFF2-40B4-BE49-F238E27FC236}">
                <a16:creationId xmlns:a16="http://schemas.microsoft.com/office/drawing/2014/main" id="{197B69D6-70A7-CE4F-9A01-697D3720C72F}"/>
              </a:ext>
            </a:extLst>
          </p:cNvPr>
          <p:cNvSpPr/>
          <p:nvPr/>
        </p:nvSpPr>
        <p:spPr>
          <a:xfrm>
            <a:off x="0" y="4546834"/>
            <a:ext cx="12192000" cy="1951167"/>
          </a:xfrm>
          <a:custGeom>
            <a:avLst/>
            <a:gdLst>
              <a:gd name="connsiteX0" fmla="*/ 0 w 12192000"/>
              <a:gd name="connsiteY0" fmla="*/ 0 h 1951167"/>
              <a:gd name="connsiteX1" fmla="*/ 12192000 w 12192000"/>
              <a:gd name="connsiteY1" fmla="*/ 0 h 1951167"/>
              <a:gd name="connsiteX2" fmla="*/ 12192000 w 12192000"/>
              <a:gd name="connsiteY2" fmla="*/ 1951167 h 1951167"/>
              <a:gd name="connsiteX3" fmla="*/ 6347607 w 12192000"/>
              <a:gd name="connsiteY3" fmla="*/ 1951167 h 1951167"/>
              <a:gd name="connsiteX4" fmla="*/ 6348000 w 12192000"/>
              <a:gd name="connsiteY4" fmla="*/ 1949217 h 1951167"/>
              <a:gd name="connsiteX5" fmla="*/ 6096000 w 12192000"/>
              <a:gd name="connsiteY5" fmla="*/ 1697217 h 1951167"/>
              <a:gd name="connsiteX6" fmla="*/ 5844000 w 12192000"/>
              <a:gd name="connsiteY6" fmla="*/ 1949217 h 1951167"/>
              <a:gd name="connsiteX7" fmla="*/ 5844394 w 12192000"/>
              <a:gd name="connsiteY7" fmla="*/ 1951167 h 1951167"/>
              <a:gd name="connsiteX8" fmla="*/ 0 w 12192000"/>
              <a:gd name="connsiteY8" fmla="*/ 1951167 h 1951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51167">
                <a:moveTo>
                  <a:pt x="0" y="0"/>
                </a:moveTo>
                <a:lnTo>
                  <a:pt x="12192000" y="0"/>
                </a:lnTo>
                <a:lnTo>
                  <a:pt x="12192000" y="1951167"/>
                </a:lnTo>
                <a:lnTo>
                  <a:pt x="6347607" y="1951167"/>
                </a:lnTo>
                <a:lnTo>
                  <a:pt x="6348000" y="1949217"/>
                </a:lnTo>
                <a:cubicBezTo>
                  <a:pt x="6348000" y="1810041"/>
                  <a:pt x="6235176" y="1697217"/>
                  <a:pt x="6096000" y="1697217"/>
                </a:cubicBezTo>
                <a:cubicBezTo>
                  <a:pt x="5956825" y="1697217"/>
                  <a:pt x="5844000" y="1810041"/>
                  <a:pt x="5844000" y="1949217"/>
                </a:cubicBezTo>
                <a:lnTo>
                  <a:pt x="5844394" y="1951167"/>
                </a:lnTo>
                <a:lnTo>
                  <a:pt x="0" y="195116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7806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1160" cy="85427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052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51553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11799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345300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5546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639047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99293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89EE7683-3A0A-0B47-9813-78A5473FCC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57806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B55A3A9-FB25-AF40-BC32-AC3C3DA4E6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8052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EDA73697-3874-C344-AAE5-CE24B2383EF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051553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62B0DD7-8060-A542-B772-E1F818A32D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11799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105967BD-F5FD-9F41-9CC6-8784B49815D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345300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DABB33E-69CC-1B46-AC9C-83F4DCC4D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05546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35B3E652-6F5F-B643-9023-FF57D267CD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39047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17B9C40-A873-8740-BC3A-4781CC1D4B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99293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Picture Placeholder 16">
            <a:extLst>
              <a:ext uri="{FF2B5EF4-FFF2-40B4-BE49-F238E27FC236}">
                <a16:creationId xmlns:a16="http://schemas.microsoft.com/office/drawing/2014/main" id="{133D25D3-41F4-CF45-B3FB-081FF3E957B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932794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02652BE-BCA5-5E41-A735-774F4FD0223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593040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Picture Placeholder 16">
            <a:extLst>
              <a:ext uri="{FF2B5EF4-FFF2-40B4-BE49-F238E27FC236}">
                <a16:creationId xmlns:a16="http://schemas.microsoft.com/office/drawing/2014/main" id="{3A70D29D-1742-1E42-A75A-59E3F307005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932794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0120ECA6-14E8-FE4E-BFAC-0B4E36A5886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3040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825058871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E02DB30E-67C0-3445-AA5E-A5CC215D9884}"/>
              </a:ext>
            </a:extLst>
          </p:cNvPr>
          <p:cNvSpPr/>
          <p:nvPr/>
        </p:nvSpPr>
        <p:spPr>
          <a:xfrm>
            <a:off x="0" y="0"/>
            <a:ext cx="6096000" cy="649605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244050 h 6496050"/>
              <a:gd name="connsiteX3" fmla="*/ 5844000 w 6096000"/>
              <a:gd name="connsiteY3" fmla="*/ 6496050 h 6496050"/>
              <a:gd name="connsiteX4" fmla="*/ 0 w 6096000"/>
              <a:gd name="connsiteY4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988FC3-040D-EF47-819D-2C866022ED0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55600"/>
            <a:ext cx="3026526" cy="6140450"/>
          </a:xfrm>
          <a:custGeom>
            <a:avLst/>
            <a:gdLst>
              <a:gd name="connsiteX0" fmla="*/ 0 w 3026526"/>
              <a:gd name="connsiteY0" fmla="*/ 0 h 6140450"/>
              <a:gd name="connsiteX1" fmla="*/ 3026526 w 3026526"/>
              <a:gd name="connsiteY1" fmla="*/ 0 h 6140450"/>
              <a:gd name="connsiteX2" fmla="*/ 1491414 w 3026526"/>
              <a:gd name="connsiteY2" fmla="*/ 6140450 h 6140450"/>
              <a:gd name="connsiteX3" fmla="*/ 0 w 3026526"/>
              <a:gd name="connsiteY3" fmla="*/ 6140450 h 6140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6526" h="6140450">
                <a:moveTo>
                  <a:pt x="0" y="0"/>
                </a:moveTo>
                <a:lnTo>
                  <a:pt x="3026526" y="0"/>
                </a:lnTo>
                <a:lnTo>
                  <a:pt x="1491414" y="6140450"/>
                </a:lnTo>
                <a:lnTo>
                  <a:pt x="0" y="614045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9149" y="609600"/>
            <a:ext cx="8540076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39150" y="2436812"/>
            <a:ext cx="2963332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6726608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all ou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83C2CFA2-B26F-9B4B-99FF-BACD59C72A9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084580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9221390 w 12192000"/>
              <a:gd name="connsiteY3" fmla="*/ 6497638 h 6497638"/>
              <a:gd name="connsiteX4" fmla="*/ 0 w 12192000"/>
              <a:gd name="connsiteY4" fmla="*/ 0 h 6497638"/>
              <a:gd name="connsiteX5" fmla="*/ 4267200 w 12192000"/>
              <a:gd name="connsiteY5" fmla="*/ 0 h 6497638"/>
              <a:gd name="connsiteX6" fmla="*/ 4267200 w 12192000"/>
              <a:gd name="connsiteY6" fmla="*/ 6497638 h 6497638"/>
              <a:gd name="connsiteX7" fmla="*/ 0 w 12192000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497638">
                <a:moveTo>
                  <a:pt x="1084580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9221390" y="6497638"/>
                </a:lnTo>
                <a:close/>
                <a:moveTo>
                  <a:pt x="0" y="0"/>
                </a:moveTo>
                <a:lnTo>
                  <a:pt x="4267200" y="0"/>
                </a:lnTo>
                <a:lnTo>
                  <a:pt x="4267200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434105" cy="2819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704764-5568-8B41-B513-A6931F8926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40239" y="1056612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EAE2D71-1538-5D46-A3E8-201696276C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9937" y="1056612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33C59DB6-68B7-5C4A-8106-D74E5DF19A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40239" y="2710048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D36210B-701B-D042-B701-14479EBE28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9937" y="2710048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FC3F4854-7AB9-D14B-9695-E24C3E2F0F7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40239" y="4363484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DB0BC641-2F1D-BB47-ABAC-E5C26E2A8A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9937" y="4363484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5718346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7743081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 layout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A4938D4-7324-F04A-8293-68CFC05B0F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4680000" rIns="4680000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image – then send to back so the gradient overlay is top of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2436813"/>
            <a:ext cx="5063118" cy="18463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609600"/>
            <a:ext cx="5487666" cy="563874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7704238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7449044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5507098-AC0F-3642-8D84-AA8E6D44B0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356264 h 6498000"/>
              <a:gd name="connsiteX18" fmla="*/ 12192000 w 12192000"/>
              <a:gd name="connsiteY18" fmla="*/ 3428999 h 6498000"/>
              <a:gd name="connsiteX19" fmla="*/ 12192000 w 12192000"/>
              <a:gd name="connsiteY19" fmla="*/ 3915787 h 6498000"/>
              <a:gd name="connsiteX20" fmla="*/ 0 w 12192000"/>
              <a:gd name="connsiteY20" fmla="*/ 3915787 h 6498000"/>
              <a:gd name="connsiteX21" fmla="*/ 0 w 12192000"/>
              <a:gd name="connsiteY21" fmla="*/ 3428999 h 6498000"/>
              <a:gd name="connsiteX22" fmla="*/ 0 w 12192000"/>
              <a:gd name="connsiteY22" fmla="*/ 335626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356264"/>
                </a:lnTo>
                <a:lnTo>
                  <a:pt x="12192000" y="3428999"/>
                </a:lnTo>
                <a:lnTo>
                  <a:pt x="12192000" y="3915787"/>
                </a:lnTo>
                <a:lnTo>
                  <a:pt x="0" y="3915787"/>
                </a:lnTo>
                <a:lnTo>
                  <a:pt x="0" y="3428999"/>
                </a:lnTo>
                <a:lnTo>
                  <a:pt x="0" y="33562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979" y="3070253"/>
            <a:ext cx="2973600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070253"/>
            <a:ext cx="2973032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4341" y="3070253"/>
            <a:ext cx="2973032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ECB1B2-4B29-F74A-823F-6BCFA66286D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37979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59023512-711F-0C4F-A156-FD720C66A3F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09200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0BA21B11-DA81-F149-A2C0-25651AB36E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64057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32162853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points -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5507098-AC0F-3642-8D84-AA8E6D44B0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356264 h 6498000"/>
              <a:gd name="connsiteX18" fmla="*/ 12192000 w 12192000"/>
              <a:gd name="connsiteY18" fmla="*/ 3428999 h 6498000"/>
              <a:gd name="connsiteX19" fmla="*/ 12192000 w 12192000"/>
              <a:gd name="connsiteY19" fmla="*/ 3915787 h 6498000"/>
              <a:gd name="connsiteX20" fmla="*/ 0 w 12192000"/>
              <a:gd name="connsiteY20" fmla="*/ 3915787 h 6498000"/>
              <a:gd name="connsiteX21" fmla="*/ 0 w 12192000"/>
              <a:gd name="connsiteY21" fmla="*/ 3428999 h 6498000"/>
              <a:gd name="connsiteX22" fmla="*/ 0 w 12192000"/>
              <a:gd name="connsiteY22" fmla="*/ 335626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356264"/>
                </a:lnTo>
                <a:lnTo>
                  <a:pt x="12192000" y="3428999"/>
                </a:lnTo>
                <a:lnTo>
                  <a:pt x="12192000" y="3915787"/>
                </a:lnTo>
                <a:lnTo>
                  <a:pt x="0" y="3915787"/>
                </a:lnTo>
                <a:lnTo>
                  <a:pt x="0" y="3428999"/>
                </a:lnTo>
                <a:lnTo>
                  <a:pt x="0" y="33562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244910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928844B-AF4D-EB48-8B2E-034A716B99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3428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9FA9E08D-EBBC-D74C-8F0C-DD8EE542819B}"/>
              </a:ext>
            </a:extLst>
          </p:cNvPr>
          <p:cNvSpPr/>
          <p:nvPr/>
        </p:nvSpPr>
        <p:spPr>
          <a:xfrm>
            <a:off x="4062000" y="3429000"/>
            <a:ext cx="4069800" cy="3069000"/>
          </a:xfrm>
          <a:custGeom>
            <a:avLst/>
            <a:gdLst>
              <a:gd name="connsiteX0" fmla="*/ 0 w 4069800"/>
              <a:gd name="connsiteY0" fmla="*/ 0 h 3069000"/>
              <a:gd name="connsiteX1" fmla="*/ 4068000 w 4069800"/>
              <a:gd name="connsiteY1" fmla="*/ 0 h 3069000"/>
              <a:gd name="connsiteX2" fmla="*/ 4069800 w 4069800"/>
              <a:gd name="connsiteY2" fmla="*/ 0 h 3069000"/>
              <a:gd name="connsiteX3" fmla="*/ 4069800 w 4069800"/>
              <a:gd name="connsiteY3" fmla="*/ 3069000 h 3069000"/>
              <a:gd name="connsiteX4" fmla="*/ 2287827 w 4069800"/>
              <a:gd name="connsiteY4" fmla="*/ 3069000 h 3069000"/>
              <a:gd name="connsiteX5" fmla="*/ 2288023 w 4069800"/>
              <a:gd name="connsiteY5" fmla="*/ 3067050 h 3069000"/>
              <a:gd name="connsiteX6" fmla="*/ 2035800 w 4069800"/>
              <a:gd name="connsiteY6" fmla="*/ 2815050 h 3069000"/>
              <a:gd name="connsiteX7" fmla="*/ 1783577 w 4069800"/>
              <a:gd name="connsiteY7" fmla="*/ 3067050 h 3069000"/>
              <a:gd name="connsiteX8" fmla="*/ 1783774 w 4069800"/>
              <a:gd name="connsiteY8" fmla="*/ 3069000 h 3069000"/>
              <a:gd name="connsiteX9" fmla="*/ 1800 w 4069800"/>
              <a:gd name="connsiteY9" fmla="*/ 3069000 h 3069000"/>
              <a:gd name="connsiteX10" fmla="*/ 1800 w 4069800"/>
              <a:gd name="connsiteY10" fmla="*/ 235974 h 3069000"/>
              <a:gd name="connsiteX11" fmla="*/ 0 w 4069800"/>
              <a:gd name="connsiteY11" fmla="*/ 235974 h 306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69800" h="3069000">
                <a:moveTo>
                  <a:pt x="0" y="0"/>
                </a:moveTo>
                <a:lnTo>
                  <a:pt x="4068000" y="0"/>
                </a:lnTo>
                <a:lnTo>
                  <a:pt x="4069800" y="0"/>
                </a:lnTo>
                <a:lnTo>
                  <a:pt x="4069800" y="3069000"/>
                </a:lnTo>
                <a:lnTo>
                  <a:pt x="2287827" y="3069000"/>
                </a:lnTo>
                <a:lnTo>
                  <a:pt x="2288023" y="3067050"/>
                </a:lnTo>
                <a:cubicBezTo>
                  <a:pt x="2288023" y="2927874"/>
                  <a:pt x="2175099" y="2815050"/>
                  <a:pt x="2035800" y="2815050"/>
                </a:cubicBezTo>
                <a:cubicBezTo>
                  <a:pt x="1896501" y="2815050"/>
                  <a:pt x="1783577" y="2927874"/>
                  <a:pt x="1783577" y="3067050"/>
                </a:cubicBezTo>
                <a:lnTo>
                  <a:pt x="1783774" y="3069000"/>
                </a:lnTo>
                <a:lnTo>
                  <a:pt x="1800" y="3069000"/>
                </a:lnTo>
                <a:lnTo>
                  <a:pt x="1800" y="235974"/>
                </a:lnTo>
                <a:lnTo>
                  <a:pt x="0" y="23597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631013-65DA-1041-8C57-167C9C5346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0E0DA3E-4AF8-B845-A89E-05FD19C066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B26C98B-BE8E-EA41-A524-6B126A418C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025497E-6F36-0141-BDA5-C0C567EDA4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accent5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0FE8E897-71C0-C94C-839C-F99C35B926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44BA5F78-CC72-F644-9807-405760E5415F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427550E-A2A3-D34D-A752-8FBB32D00B2C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6196512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/ char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513BF868-2674-8347-88DF-930682D741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064000" y="0"/>
            <a:ext cx="8128000" cy="6496050"/>
          </a:xfrm>
          <a:custGeom>
            <a:avLst/>
            <a:gdLst>
              <a:gd name="connsiteX0" fmla="*/ 0 w 8128000"/>
              <a:gd name="connsiteY0" fmla="*/ 0 h 6496050"/>
              <a:gd name="connsiteX1" fmla="*/ 8128000 w 8128000"/>
              <a:gd name="connsiteY1" fmla="*/ 0 h 6496050"/>
              <a:gd name="connsiteX2" fmla="*/ 8128000 w 8128000"/>
              <a:gd name="connsiteY2" fmla="*/ 6496050 h 6496050"/>
              <a:gd name="connsiteX3" fmla="*/ 2284000 w 8128000"/>
              <a:gd name="connsiteY3" fmla="*/ 6496050 h 6496050"/>
              <a:gd name="connsiteX4" fmla="*/ 2032000 w 8128000"/>
              <a:gd name="connsiteY4" fmla="*/ 6244050 h 6496050"/>
              <a:gd name="connsiteX5" fmla="*/ 1780000 w 8128000"/>
              <a:gd name="connsiteY5" fmla="*/ 6496050 h 6496050"/>
              <a:gd name="connsiteX6" fmla="*/ 0 w 8128000"/>
              <a:gd name="connsiteY6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28000" h="6496050">
                <a:moveTo>
                  <a:pt x="0" y="0"/>
                </a:moveTo>
                <a:lnTo>
                  <a:pt x="8128000" y="0"/>
                </a:lnTo>
                <a:lnTo>
                  <a:pt x="8128000" y="6496050"/>
                </a:lnTo>
                <a:lnTo>
                  <a:pt x="2284000" y="6496050"/>
                </a:lnTo>
                <a:cubicBezTo>
                  <a:pt x="2284000" y="6356874"/>
                  <a:pt x="2171176" y="6244050"/>
                  <a:pt x="2032000" y="6244050"/>
                </a:cubicBezTo>
                <a:cubicBezTo>
                  <a:pt x="1892825" y="6244050"/>
                  <a:pt x="1780000" y="6356874"/>
                  <a:pt x="1780000" y="6496050"/>
                </a:cubicBezTo>
                <a:lnTo>
                  <a:pt x="0" y="649605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GB"/>
              <a:t>Click to add chart or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3229316" cy="182721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3229316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6111126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>
            <a:extLst>
              <a:ext uri="{FF2B5EF4-FFF2-40B4-BE49-F238E27FC236}">
                <a16:creationId xmlns:a16="http://schemas.microsoft.com/office/drawing/2014/main" id="{D7245059-C77A-F54C-A53E-4CBA0C853BFB}"/>
              </a:ext>
            </a:extLst>
          </p:cNvPr>
          <p:cNvSpPr/>
          <p:nvPr/>
        </p:nvSpPr>
        <p:spPr>
          <a:xfrm>
            <a:off x="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48DB6C09-42FA-2A46-BC78-D93D37BEBB29}"/>
              </a:ext>
            </a:extLst>
          </p:cNvPr>
          <p:cNvSpPr/>
          <p:nvPr/>
        </p:nvSpPr>
        <p:spPr>
          <a:xfrm>
            <a:off x="812760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8BD2C5B-4AEB-2742-96C2-7BBFA14B32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400" y="0"/>
            <a:ext cx="4063200" cy="6498000"/>
          </a:xfrm>
          <a:custGeom>
            <a:avLst/>
            <a:gdLst>
              <a:gd name="connsiteX0" fmla="*/ 0 w 4063200"/>
              <a:gd name="connsiteY0" fmla="*/ 0 h 6498000"/>
              <a:gd name="connsiteX1" fmla="*/ 4063200 w 4063200"/>
              <a:gd name="connsiteY1" fmla="*/ 0 h 6498000"/>
              <a:gd name="connsiteX2" fmla="*/ 4063200 w 4063200"/>
              <a:gd name="connsiteY2" fmla="*/ 6498000 h 6498000"/>
              <a:gd name="connsiteX3" fmla="*/ 2283207 w 4063200"/>
              <a:gd name="connsiteY3" fmla="*/ 6498000 h 6498000"/>
              <a:gd name="connsiteX4" fmla="*/ 2283600 w 4063200"/>
              <a:gd name="connsiteY4" fmla="*/ 6496050 h 6498000"/>
              <a:gd name="connsiteX5" fmla="*/ 2031600 w 4063200"/>
              <a:gd name="connsiteY5" fmla="*/ 6244050 h 6498000"/>
              <a:gd name="connsiteX6" fmla="*/ 1779600 w 4063200"/>
              <a:gd name="connsiteY6" fmla="*/ 6496050 h 6498000"/>
              <a:gd name="connsiteX7" fmla="*/ 1779994 w 4063200"/>
              <a:gd name="connsiteY7" fmla="*/ 6498000 h 6498000"/>
              <a:gd name="connsiteX8" fmla="*/ 0 w 40632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3200" h="6498000">
                <a:moveTo>
                  <a:pt x="0" y="0"/>
                </a:moveTo>
                <a:lnTo>
                  <a:pt x="4063200" y="0"/>
                </a:lnTo>
                <a:lnTo>
                  <a:pt x="4063200" y="6498000"/>
                </a:lnTo>
                <a:lnTo>
                  <a:pt x="2283207" y="6498000"/>
                </a:lnTo>
                <a:lnTo>
                  <a:pt x="2283600" y="6496050"/>
                </a:lnTo>
                <a:cubicBezTo>
                  <a:pt x="2283600" y="6356874"/>
                  <a:pt x="2170776" y="6244050"/>
                  <a:pt x="2031600" y="6244050"/>
                </a:cubicBezTo>
                <a:cubicBezTo>
                  <a:pt x="1892425" y="6244050"/>
                  <a:pt x="1779600" y="6356874"/>
                  <a:pt x="1779600" y="6496050"/>
                </a:cubicBezTo>
                <a:lnTo>
                  <a:pt x="17799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1F44BA-467F-BE4D-A5C2-016062F34C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960070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1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62AB0BE-6BC7-8849-AB16-35B14C0D9DB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4290971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2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6257F5-DB36-8642-9B67-DCE0EA0BB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04959" y="1960070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3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18DF41C-28AB-DF43-913D-52E963D595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04959" y="4290971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4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D083FB-B098-954D-9DC4-850B3E0013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7011782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805700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/ content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Freeform 39">
            <a:extLst>
              <a:ext uri="{FF2B5EF4-FFF2-40B4-BE49-F238E27FC236}">
                <a16:creationId xmlns:a16="http://schemas.microsoft.com/office/drawing/2014/main" id="{D76F5CAF-A32B-7A49-875F-78FB038A9479}"/>
              </a:ext>
            </a:extLst>
          </p:cNvPr>
          <p:cNvSpPr/>
          <p:nvPr/>
        </p:nvSpPr>
        <p:spPr>
          <a:xfrm>
            <a:off x="4062000" y="0"/>
            <a:ext cx="4069800" cy="6498000"/>
          </a:xfrm>
          <a:custGeom>
            <a:avLst/>
            <a:gdLst>
              <a:gd name="connsiteX0" fmla="*/ 0 w 4069800"/>
              <a:gd name="connsiteY0" fmla="*/ 0 h 6498000"/>
              <a:gd name="connsiteX1" fmla="*/ 4068000 w 4069800"/>
              <a:gd name="connsiteY1" fmla="*/ 0 h 6498000"/>
              <a:gd name="connsiteX2" fmla="*/ 4068000 w 4069800"/>
              <a:gd name="connsiteY2" fmla="*/ 3429000 h 6498000"/>
              <a:gd name="connsiteX3" fmla="*/ 4069800 w 4069800"/>
              <a:gd name="connsiteY3" fmla="*/ 3429000 h 6498000"/>
              <a:gd name="connsiteX4" fmla="*/ 4069800 w 4069800"/>
              <a:gd name="connsiteY4" fmla="*/ 6498000 h 6498000"/>
              <a:gd name="connsiteX5" fmla="*/ 2287827 w 4069800"/>
              <a:gd name="connsiteY5" fmla="*/ 6498000 h 6498000"/>
              <a:gd name="connsiteX6" fmla="*/ 2288023 w 4069800"/>
              <a:gd name="connsiteY6" fmla="*/ 6496050 h 6498000"/>
              <a:gd name="connsiteX7" fmla="*/ 2035800 w 4069800"/>
              <a:gd name="connsiteY7" fmla="*/ 6244050 h 6498000"/>
              <a:gd name="connsiteX8" fmla="*/ 1783577 w 4069800"/>
              <a:gd name="connsiteY8" fmla="*/ 6496050 h 6498000"/>
              <a:gd name="connsiteX9" fmla="*/ 1783774 w 4069800"/>
              <a:gd name="connsiteY9" fmla="*/ 6498000 h 6498000"/>
              <a:gd name="connsiteX10" fmla="*/ 1800 w 4069800"/>
              <a:gd name="connsiteY10" fmla="*/ 6498000 h 6498000"/>
              <a:gd name="connsiteX11" fmla="*/ 1800 w 4069800"/>
              <a:gd name="connsiteY11" fmla="*/ 3664974 h 6498000"/>
              <a:gd name="connsiteX12" fmla="*/ 0 w 4069800"/>
              <a:gd name="connsiteY12" fmla="*/ 366497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069800" h="6498000">
                <a:moveTo>
                  <a:pt x="0" y="0"/>
                </a:moveTo>
                <a:lnTo>
                  <a:pt x="4068000" y="0"/>
                </a:lnTo>
                <a:lnTo>
                  <a:pt x="4068000" y="3429000"/>
                </a:lnTo>
                <a:lnTo>
                  <a:pt x="4069800" y="3429000"/>
                </a:lnTo>
                <a:lnTo>
                  <a:pt x="4069800" y="6498000"/>
                </a:lnTo>
                <a:lnTo>
                  <a:pt x="2287827" y="6498000"/>
                </a:lnTo>
                <a:lnTo>
                  <a:pt x="2288023" y="6496050"/>
                </a:lnTo>
                <a:cubicBezTo>
                  <a:pt x="2288023" y="6356874"/>
                  <a:pt x="2175099" y="6244050"/>
                  <a:pt x="2035800" y="6244050"/>
                </a:cubicBezTo>
                <a:cubicBezTo>
                  <a:pt x="1896501" y="6244050"/>
                  <a:pt x="1783577" y="6356874"/>
                  <a:pt x="1783577" y="6496050"/>
                </a:cubicBezTo>
                <a:lnTo>
                  <a:pt x="1783774" y="6498000"/>
                </a:lnTo>
                <a:lnTo>
                  <a:pt x="1800" y="6498000"/>
                </a:lnTo>
                <a:lnTo>
                  <a:pt x="1800" y="3664974"/>
                </a:lnTo>
                <a:lnTo>
                  <a:pt x="0" y="366497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928844B-AF4D-EB48-8B2E-034A716B99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4063800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2928" y="609599"/>
            <a:ext cx="3531201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6F666979-0ECE-B949-BA37-13C1BF6241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2928" y="2436814"/>
            <a:ext cx="3531201" cy="381152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0802668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2"/>
            <a:ext cx="296258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6A902-93DF-154B-893D-0DF72E2759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62050" y="1422000"/>
            <a:ext cx="6768000" cy="4014000"/>
          </a:xfrm>
          <a:prstGeom prst="round2SameRect">
            <a:avLst>
              <a:gd name="adj1" fmla="val 6156"/>
              <a:gd name="adj2" fmla="val 0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B4AE55-198A-9245-9842-304475D1849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62294" y="1712514"/>
            <a:ext cx="6767512" cy="372348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C95FFF9-8E14-6A49-9689-F0419B544A3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62050" y="5400000"/>
            <a:ext cx="6768000" cy="36000"/>
          </a:xfrm>
          <a:prstGeom prst="rect">
            <a:avLst/>
          </a:prstGeom>
          <a:solidFill>
            <a:schemeClr val="accent4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C4594DC-56B1-CF41-9D14-1F429D8D88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428050" y="1541493"/>
            <a:ext cx="36000" cy="36000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B8FE8A3-A2FB-2B45-BB88-4AB826079E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62200" y="2150333"/>
            <a:ext cx="1962204" cy="4014000"/>
          </a:xfrm>
          <a:prstGeom prst="round2SameRect">
            <a:avLst>
              <a:gd name="adj1" fmla="val 6156"/>
              <a:gd name="adj2" fmla="val 0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9F22E1CA-D39E-CF4F-8BC3-E45962EB36D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62444" y="2440847"/>
            <a:ext cx="1962063" cy="372348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0515B4EF-4C39-FA47-B386-295D0DE1549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962200" y="6128333"/>
            <a:ext cx="1962204" cy="36000"/>
          </a:xfrm>
          <a:prstGeom prst="rect">
            <a:avLst/>
          </a:prstGeom>
          <a:solidFill>
            <a:schemeClr val="accent4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428CB56-8DB8-424F-B8A1-7AD238B12D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07103" y="2271316"/>
            <a:ext cx="36000" cy="36000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EECF6EC-E44D-3B4E-832E-79B18420F61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899178" y="2271316"/>
            <a:ext cx="182876" cy="36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25798678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4643645-909A-E64C-AECF-FF8D2549E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9204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6FB7A9AC-BCBE-074D-9620-C5FAB2B9DA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37109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1CE8E07-4968-2149-AED9-530684741F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15014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66261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6473027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with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B46106E-6485-954E-BED7-0B3CFBD389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59DACD9E-3955-7B45-96B2-7D8BE4726AF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6750970C-3138-B24B-B5BE-424C94FFCB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64000" y="1"/>
            <a:ext cx="4064000" cy="6497999"/>
          </a:xfrm>
          <a:custGeom>
            <a:avLst/>
            <a:gdLst>
              <a:gd name="connsiteX0" fmla="*/ 0 w 4064000"/>
              <a:gd name="connsiteY0" fmla="*/ 0 h 6497999"/>
              <a:gd name="connsiteX1" fmla="*/ 4064000 w 4064000"/>
              <a:gd name="connsiteY1" fmla="*/ 0 h 6497999"/>
              <a:gd name="connsiteX2" fmla="*/ 4064000 w 4064000"/>
              <a:gd name="connsiteY2" fmla="*/ 6497999 h 6497999"/>
              <a:gd name="connsiteX3" fmla="*/ 2283804 w 4064000"/>
              <a:gd name="connsiteY3" fmla="*/ 6497999 h 6497999"/>
              <a:gd name="connsiteX4" fmla="*/ 2284000 w 4064000"/>
              <a:gd name="connsiteY4" fmla="*/ 6496049 h 6497999"/>
              <a:gd name="connsiteX5" fmla="*/ 2032000 w 4064000"/>
              <a:gd name="connsiteY5" fmla="*/ 6244049 h 6497999"/>
              <a:gd name="connsiteX6" fmla="*/ 1780000 w 4064000"/>
              <a:gd name="connsiteY6" fmla="*/ 6496049 h 6497999"/>
              <a:gd name="connsiteX7" fmla="*/ 1780197 w 4064000"/>
              <a:gd name="connsiteY7" fmla="*/ 6497999 h 6497999"/>
              <a:gd name="connsiteX8" fmla="*/ 0 w 4064000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4000" h="6497999">
                <a:moveTo>
                  <a:pt x="0" y="0"/>
                </a:moveTo>
                <a:lnTo>
                  <a:pt x="4064000" y="0"/>
                </a:lnTo>
                <a:lnTo>
                  <a:pt x="4064000" y="6497999"/>
                </a:lnTo>
                <a:lnTo>
                  <a:pt x="2283804" y="6497999"/>
                </a:lnTo>
                <a:lnTo>
                  <a:pt x="2284000" y="6496049"/>
                </a:lnTo>
                <a:cubicBezTo>
                  <a:pt x="2284000" y="6356873"/>
                  <a:pt x="2171176" y="6244049"/>
                  <a:pt x="2032000" y="6244049"/>
                </a:cubicBezTo>
                <a:cubicBezTo>
                  <a:pt x="1892824" y="6244049"/>
                  <a:pt x="1780000" y="6356873"/>
                  <a:pt x="1780000" y="6496049"/>
                </a:cubicBezTo>
                <a:lnTo>
                  <a:pt x="1780197" y="6497999"/>
                </a:lnTo>
                <a:lnTo>
                  <a:pt x="0" y="6497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947B9FEA-9C3C-8144-BBAC-02AAECE365E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17178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4643645-909A-E64C-AECF-FF8D2549E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3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905D865-DB29-824B-83F4-98D1B8D13D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7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8685FA2-5439-8249-9C6F-580A601085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41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45E1A5-F9AA-8E45-87DA-48733FB44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7138177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callouts with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305D707-B941-E742-B3A1-EC33D25DD3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64000" y="1"/>
            <a:ext cx="4064000" cy="6497999"/>
          </a:xfrm>
          <a:custGeom>
            <a:avLst/>
            <a:gdLst>
              <a:gd name="connsiteX0" fmla="*/ 0 w 4064000"/>
              <a:gd name="connsiteY0" fmla="*/ 0 h 6497999"/>
              <a:gd name="connsiteX1" fmla="*/ 4064000 w 4064000"/>
              <a:gd name="connsiteY1" fmla="*/ 0 h 6497999"/>
              <a:gd name="connsiteX2" fmla="*/ 4064000 w 4064000"/>
              <a:gd name="connsiteY2" fmla="*/ 6497999 h 6497999"/>
              <a:gd name="connsiteX3" fmla="*/ 2283804 w 4064000"/>
              <a:gd name="connsiteY3" fmla="*/ 6497999 h 6497999"/>
              <a:gd name="connsiteX4" fmla="*/ 2284000 w 4064000"/>
              <a:gd name="connsiteY4" fmla="*/ 6496049 h 6497999"/>
              <a:gd name="connsiteX5" fmla="*/ 2032000 w 4064000"/>
              <a:gd name="connsiteY5" fmla="*/ 6244049 h 6497999"/>
              <a:gd name="connsiteX6" fmla="*/ 1780000 w 4064000"/>
              <a:gd name="connsiteY6" fmla="*/ 6496049 h 6497999"/>
              <a:gd name="connsiteX7" fmla="*/ 1780197 w 4064000"/>
              <a:gd name="connsiteY7" fmla="*/ 6497999 h 6497999"/>
              <a:gd name="connsiteX8" fmla="*/ 0 w 4064000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4000" h="6497999">
                <a:moveTo>
                  <a:pt x="0" y="0"/>
                </a:moveTo>
                <a:lnTo>
                  <a:pt x="4064000" y="0"/>
                </a:lnTo>
                <a:lnTo>
                  <a:pt x="4064000" y="6497999"/>
                </a:lnTo>
                <a:lnTo>
                  <a:pt x="2283804" y="6497999"/>
                </a:lnTo>
                <a:lnTo>
                  <a:pt x="2284000" y="6496049"/>
                </a:lnTo>
                <a:cubicBezTo>
                  <a:pt x="2284000" y="6356873"/>
                  <a:pt x="2171176" y="6244049"/>
                  <a:pt x="2032000" y="6244049"/>
                </a:cubicBezTo>
                <a:cubicBezTo>
                  <a:pt x="1892824" y="6244049"/>
                  <a:pt x="1780000" y="6356873"/>
                  <a:pt x="1780000" y="6496049"/>
                </a:cubicBezTo>
                <a:lnTo>
                  <a:pt x="1780197" y="6497999"/>
                </a:lnTo>
                <a:lnTo>
                  <a:pt x="0" y="6497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F1958CA4-4DE3-104F-87CF-B9883AE1372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17178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F8530DE-535A-084C-8B5E-A85ECC159C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64000" y="0"/>
            <a:ext cx="8128000" cy="6497638"/>
          </a:xfrm>
          <a:custGeom>
            <a:avLst/>
            <a:gdLst>
              <a:gd name="connsiteX0" fmla="*/ 0 w 8128000"/>
              <a:gd name="connsiteY0" fmla="*/ 0 h 6497638"/>
              <a:gd name="connsiteX1" fmla="*/ 8128000 w 8128000"/>
              <a:gd name="connsiteY1" fmla="*/ 0 h 6497638"/>
              <a:gd name="connsiteX2" fmla="*/ 8128000 w 8128000"/>
              <a:gd name="connsiteY2" fmla="*/ 6497638 h 6497638"/>
              <a:gd name="connsiteX3" fmla="*/ 2283680 w 8128000"/>
              <a:gd name="connsiteY3" fmla="*/ 6497638 h 6497638"/>
              <a:gd name="connsiteX4" fmla="*/ 2284000 w 8128000"/>
              <a:gd name="connsiteY4" fmla="*/ 6496050 h 6497638"/>
              <a:gd name="connsiteX5" fmla="*/ 2032000 w 8128000"/>
              <a:gd name="connsiteY5" fmla="*/ 6244050 h 6497638"/>
              <a:gd name="connsiteX6" fmla="*/ 1780000 w 8128000"/>
              <a:gd name="connsiteY6" fmla="*/ 6496050 h 6497638"/>
              <a:gd name="connsiteX7" fmla="*/ 1780321 w 8128000"/>
              <a:gd name="connsiteY7" fmla="*/ 6497638 h 6497638"/>
              <a:gd name="connsiteX8" fmla="*/ 0 w 8128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28000" h="6497638">
                <a:moveTo>
                  <a:pt x="0" y="0"/>
                </a:moveTo>
                <a:lnTo>
                  <a:pt x="8128000" y="0"/>
                </a:lnTo>
                <a:lnTo>
                  <a:pt x="8128000" y="6497638"/>
                </a:lnTo>
                <a:lnTo>
                  <a:pt x="2283680" y="6497638"/>
                </a:lnTo>
                <a:lnTo>
                  <a:pt x="2284000" y="6496050"/>
                </a:lnTo>
                <a:cubicBezTo>
                  <a:pt x="2284000" y="6356874"/>
                  <a:pt x="2171176" y="6244050"/>
                  <a:pt x="2032000" y="6244050"/>
                </a:cubicBezTo>
                <a:cubicBezTo>
                  <a:pt x="1892825" y="6244050"/>
                  <a:pt x="1780000" y="6356874"/>
                  <a:pt x="1780000" y="6496050"/>
                </a:cubicBezTo>
                <a:lnTo>
                  <a:pt x="1780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2436813"/>
            <a:ext cx="3023302" cy="34983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7B439116-0AC7-6E49-9EE3-FFE1BD1C3F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7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A3AD4B1-EF8E-F84F-8EB4-0633A7A509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41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6588301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611550055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>
                <a:solidFill>
                  <a:srgbClr val="404E5C"/>
                </a:solidFill>
              </a:rPr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>
                <a:solidFill>
                  <a:srgbClr val="404E5C"/>
                </a:solidFill>
              </a:rPr>
              <a:pPr/>
              <a:t>‹Nº›</a:t>
            </a:fld>
            <a:endParaRPr lang="en-GB">
              <a:solidFill>
                <a:srgbClr val="404E5C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</p:grp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 txBox="1">
            <a:spLocks/>
          </p:cNvSpPr>
          <p:nvPr/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D7550-0EB0-3A43-B3ED-278106F7B6C0}" type="slidenum">
              <a:rPr lang="en-GB" smtClean="0">
                <a:solidFill>
                  <a:srgbClr val="404E5C"/>
                </a:solidFill>
              </a:rPr>
              <a:pPr/>
              <a:t>‹Nº›</a:t>
            </a:fld>
            <a:endParaRPr lang="en-GB">
              <a:solidFill>
                <a:srgbClr val="404E5C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EA482E0-B01C-F146-BA1B-F2A64B1E0F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093" y="6335850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398852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9D9B270-FE21-444E-AB80-6A52EC0C50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</p:spTree>
    <p:extLst>
      <p:ext uri="{BB962C8B-B14F-4D97-AF65-F5344CB8AC3E}">
        <p14:creationId xmlns:p14="http://schemas.microsoft.com/office/powerpoint/2010/main" val="506019198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9678254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titl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F43660B-81B2-B143-B11D-85302EECFDBE}"/>
              </a:ext>
            </a:extLst>
          </p:cNvPr>
          <p:cNvSpPr/>
          <p:nvPr/>
        </p:nvSpPr>
        <p:spPr>
          <a:xfrm>
            <a:off x="-1" y="169378"/>
            <a:ext cx="6096001" cy="65139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E9EEBBFB-5AFB-E546-B708-FD2A696F2A2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067241" y="346075"/>
            <a:ext cx="5124760" cy="61658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400" b="0">
                <a:solidFill>
                  <a:schemeClr val="accent3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4BCEEAE9-2632-734D-A333-1202EB0610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1" y="346075"/>
            <a:ext cx="7067241" cy="616585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lvl="0"/>
            <a:r>
              <a:rPr lang="en-US"/>
              <a:t>Box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A09681D-22B5-6548-919F-52B5804608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473" y="572255"/>
            <a:ext cx="328492" cy="50392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/>
          <a:lstStyle>
            <a:lvl1pPr>
              <a:defRPr lang="en-US" sz="200" smtClean="0">
                <a:solidFill>
                  <a:schemeClr val="bg2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>
              <a:defRPr lang="en-US" sz="800" smtClean="0">
                <a:solidFill>
                  <a:schemeClr val="bg2"/>
                </a:solidFill>
              </a:defRPr>
            </a:lvl2pPr>
            <a:lvl3pPr>
              <a:defRPr lang="en-US" sz="800" smtClean="0">
                <a:solidFill>
                  <a:schemeClr val="bg2"/>
                </a:solidFill>
              </a:defRPr>
            </a:lvl3pPr>
            <a:lvl4pPr>
              <a:defRPr lang="en-US" sz="800" smtClean="0">
                <a:solidFill>
                  <a:schemeClr val="bg2"/>
                </a:solidFill>
              </a:defRPr>
            </a:lvl4pPr>
            <a:lvl5pPr>
              <a:defRPr lang="en-US" sz="800">
                <a:solidFill>
                  <a:schemeClr val="bg2"/>
                </a:solidFill>
              </a:defRPr>
            </a:lvl5pPr>
          </a:lstStyle>
          <a:p>
            <a:pPr marL="0" lvl="0" indent="0" algn="ctr">
              <a:buNone/>
            </a:pPr>
            <a:r>
              <a:rPr lang="en-US"/>
              <a:t>Line</a:t>
            </a:r>
          </a:p>
        </p:txBody>
      </p:sp>
      <p:sp>
        <p:nvSpPr>
          <p:cNvPr id="18" name="Slide Number Placeholder 11">
            <a:extLst>
              <a:ext uri="{FF2B5EF4-FFF2-40B4-BE49-F238E27FC236}">
                <a16:creationId xmlns:a16="http://schemas.microsoft.com/office/drawing/2014/main" id="{BF6D8E5A-A926-EA42-9DD8-56755A428205}"/>
              </a:ext>
            </a:extLst>
          </p:cNvPr>
          <p:cNvSpPr txBox="1">
            <a:spLocks/>
          </p:cNvSpPr>
          <p:nvPr/>
        </p:nvSpPr>
        <p:spPr>
          <a:xfrm>
            <a:off x="337856" y="6515474"/>
            <a:ext cx="612000" cy="17206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BC3BBC56-5B77-964C-A5B4-F225189E1B1A}" type="slidenum">
              <a:rPr lang="en-US" sz="800" i="0" smtClean="0"/>
              <a:pPr algn="l"/>
              <a:t>‹Nº›</a:t>
            </a:fld>
            <a:endParaRPr lang="en-US" sz="800" i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F70018-73A1-A742-95B2-3D6B76F2D7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728662"/>
            <a:ext cx="6367128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23E93F2-6A96-924E-ADF9-C3E512F7364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71475" y="2054225"/>
            <a:ext cx="6315075" cy="411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FF180C-B320-DC49-8D0B-5BC885F62D2C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415503342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82034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-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32163BD-71D9-E440-8A6E-95C8EB751FB7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2037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81003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63591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46179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0183AF5-5DC2-FE41-BFD2-3D5DCEAD6049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620333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302921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0E6ED9-CD03-A24A-A1BD-565AA6C21FF6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8985600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D686E51-941A-824E-AD7D-9E47C1DA30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728767" y="2980823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4226030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015863517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577969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26308"/>
            <a:ext cx="11392930" cy="5690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2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2603024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0183AF5-5DC2-FE41-BFD2-3D5DCEAD6049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697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58264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4346240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2338546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236147671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986615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1818468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0201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58162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96535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5103391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102620449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0816815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827455290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052768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318075112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32138003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540600534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411498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47720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41296106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390657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229579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56847665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235765324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02539586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3544633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346182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9205718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02783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4580112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9659746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4563198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8646452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2912381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0665120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FED1F5DE-1FB3-49C6-BB5C-83D3AB33A6E1}"/>
              </a:ext>
            </a:extLst>
          </p:cNvPr>
          <p:cNvGrpSpPr/>
          <p:nvPr userDrawn="1"/>
        </p:nvGrpSpPr>
        <p:grpSpPr>
          <a:xfrm>
            <a:off x="1086556" y="792686"/>
            <a:ext cx="3893600" cy="790361"/>
            <a:chOff x="1069585" y="1932374"/>
            <a:chExt cx="3893600" cy="790361"/>
          </a:xfrm>
        </p:grpSpPr>
        <p:pic>
          <p:nvPicPr>
            <p:cNvPr id="19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76F9365D-AF4E-4B39-B35B-D0A4E4862F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64456"/>
            <a:stretch/>
          </p:blipFill>
          <p:spPr>
            <a:xfrm>
              <a:off x="1069585" y="1932374"/>
              <a:ext cx="1064015" cy="790361"/>
            </a:xfrm>
            <a:prstGeom prst="rect">
              <a:avLst/>
            </a:prstGeom>
          </p:spPr>
        </p:pic>
        <p:pic>
          <p:nvPicPr>
            <p:cNvPr id="20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C42F9511-0878-414A-9C85-3104C16BCA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7114" r="365"/>
            <a:stretch/>
          </p:blipFill>
          <p:spPr>
            <a:xfrm>
              <a:off x="3739050" y="2104720"/>
              <a:ext cx="1224135" cy="445664"/>
            </a:xfrm>
            <a:prstGeom prst="rect">
              <a:avLst/>
            </a:prstGeom>
          </p:spPr>
        </p:pic>
        <p:pic>
          <p:nvPicPr>
            <p:cNvPr id="21" name="Picture 4" descr="Ogilvy - UNA">
              <a:extLst>
                <a:ext uri="{FF2B5EF4-FFF2-40B4-BE49-F238E27FC236}">
                  <a16:creationId xmlns:a16="http://schemas.microsoft.com/office/drawing/2014/main" id="{5FDDD58E-BD66-4438-A8D6-8D184C30D1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5016" y="2035073"/>
              <a:ext cx="1497496" cy="5849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4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937087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365012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488196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199916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4029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8395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716057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528014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856499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181988880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293575981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313497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235185811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3443765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7961905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9062279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92978246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8077757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68743217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453135961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7640644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239208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43207744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21658859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60370921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796634530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620807358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53358121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931116540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17553488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466217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9358952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255983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5841470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0964533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0753226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944529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109104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75465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2396193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789704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989658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058570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513510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3602017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9430864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548847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9770106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4264961847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 userDrawn="1"/>
        </p:nvSpPr>
        <p:spPr>
          <a:xfrm>
            <a:off x="0" y="6354"/>
            <a:ext cx="12191999" cy="684529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12912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3001709670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4/1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3805440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187329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2484013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0">
  <p:cSld name="Title slide 10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32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59" name="Google Shape;159;p3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160" name="Google Shape;160;p32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19589328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3">
  <p:cSld name="Title slide 3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Google Shape;59;p15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0;p1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61" name="Google Shape;61;p15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10378027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8">
  <p:cSld name="Title slide 8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" name="Google Shape;87;p22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88" name="Google Shape;88;p2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89" name="Google Shape;89;p22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69592624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7031493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5155210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13193351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01426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97609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732066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69163189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953102810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88039809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9480145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412846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109272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474100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2994304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09192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307010321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406392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6690880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8628504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639951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243373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719230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330495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689735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321906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40365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20551837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178237127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92628675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716147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921005980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2245629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6938543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5776158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795647072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863020191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8662266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866817333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0779858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065826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013212718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52011055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395728812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243996274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850622494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11586871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713589904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64740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925535146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836174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609114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7494940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4279137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3050655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902539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132765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155993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649036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5738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15984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846076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643421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316209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36386425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9351150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4470179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3568205647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4/1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700054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01370606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51714798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221039301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11344098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672742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7791171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182263141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032969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7086014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405995372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945308372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1107979077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1631410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0405662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426903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74291161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2E6161-A266-4B9E-451D-71EEEBD7CB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499C679-5DEB-ADA4-077F-39D366ED84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04E8D6E-CB67-C464-1E34-611E2977D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18C8C-F8E5-4435-800D-464FC98B101F}" type="datetimeFigureOut">
              <a:rPr lang="es-MX" smtClean="0"/>
              <a:t>18/04/24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DB4A84D-0B8D-1279-2005-624EBDA0F1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14D15B-F079-69FF-50D6-8A2710A75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061421001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5008630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201889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800" b="0" i="0" u="none" strike="noStrike" kern="1200" cap="none" spc="0" normalizeH="0" baseline="0" noProof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rgbClr val="404E5C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3727727"/>
      </p:ext>
    </p:extLst>
  </p:cSld>
  <p:clrMapOvr>
    <a:masterClrMapping/>
  </p:clrMapOvr>
  <p:transition spd="med"/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1452394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498590"/>
          </a:xfrm>
          <a:custGeom>
            <a:avLst/>
            <a:gdLst/>
            <a:ahLst/>
            <a:cxnLst/>
            <a:rect l="l" t="t" r="r" b="b"/>
            <a:pathLst>
              <a:path w="12192000" h="6498590">
                <a:moveTo>
                  <a:pt x="0" y="6498336"/>
                </a:moveTo>
                <a:lnTo>
                  <a:pt x="12192000" y="6498336"/>
                </a:lnTo>
                <a:lnTo>
                  <a:pt x="12192000" y="0"/>
                </a:lnTo>
                <a:lnTo>
                  <a:pt x="0" y="0"/>
                </a:lnTo>
                <a:lnTo>
                  <a:pt x="0" y="6498336"/>
                </a:lnTo>
                <a:close/>
              </a:path>
            </a:pathLst>
          </a:custGeom>
          <a:solidFill>
            <a:srgbClr val="ECF1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0" y="6243828"/>
            <a:ext cx="12192000" cy="614680"/>
          </a:xfrm>
          <a:custGeom>
            <a:avLst/>
            <a:gdLst/>
            <a:ahLst/>
            <a:cxnLst/>
            <a:rect l="l" t="t" r="r" b="b"/>
            <a:pathLst>
              <a:path w="12192000" h="614679">
                <a:moveTo>
                  <a:pt x="12192000" y="254508"/>
                </a:moveTo>
                <a:lnTo>
                  <a:pt x="6347244" y="254508"/>
                </a:lnTo>
                <a:lnTo>
                  <a:pt x="6347460" y="252222"/>
                </a:lnTo>
                <a:lnTo>
                  <a:pt x="6343409" y="206895"/>
                </a:lnTo>
                <a:lnTo>
                  <a:pt x="6331725" y="164223"/>
                </a:lnTo>
                <a:lnTo>
                  <a:pt x="6313132" y="124929"/>
                </a:lnTo>
                <a:lnTo>
                  <a:pt x="6288329" y="89725"/>
                </a:lnTo>
                <a:lnTo>
                  <a:pt x="6258026" y="59321"/>
                </a:lnTo>
                <a:lnTo>
                  <a:pt x="6222936" y="34442"/>
                </a:lnTo>
                <a:lnTo>
                  <a:pt x="6183757" y="15786"/>
                </a:lnTo>
                <a:lnTo>
                  <a:pt x="6141212" y="4064"/>
                </a:lnTo>
                <a:lnTo>
                  <a:pt x="6096000" y="0"/>
                </a:lnTo>
                <a:lnTo>
                  <a:pt x="6050775" y="4064"/>
                </a:lnTo>
                <a:lnTo>
                  <a:pt x="6008230" y="15786"/>
                </a:lnTo>
                <a:lnTo>
                  <a:pt x="5969051" y="34442"/>
                </a:lnTo>
                <a:lnTo>
                  <a:pt x="5933960" y="59321"/>
                </a:lnTo>
                <a:lnTo>
                  <a:pt x="5903658" y="89725"/>
                </a:lnTo>
                <a:lnTo>
                  <a:pt x="5878855" y="124929"/>
                </a:lnTo>
                <a:lnTo>
                  <a:pt x="5860262" y="164223"/>
                </a:lnTo>
                <a:lnTo>
                  <a:pt x="5848578" y="206895"/>
                </a:lnTo>
                <a:lnTo>
                  <a:pt x="5844540" y="252222"/>
                </a:lnTo>
                <a:lnTo>
                  <a:pt x="5844743" y="254508"/>
                </a:lnTo>
                <a:lnTo>
                  <a:pt x="0" y="254508"/>
                </a:lnTo>
                <a:lnTo>
                  <a:pt x="0" y="614172"/>
                </a:lnTo>
                <a:lnTo>
                  <a:pt x="12192000" y="614172"/>
                </a:lnTo>
                <a:lnTo>
                  <a:pt x="12192000" y="25450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940552" y="6335268"/>
            <a:ext cx="320039" cy="321563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8/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404E5C"/>
                </a:solidFill>
                <a:latin typeface="Verdana"/>
                <a:cs typeface="Verdana"/>
              </a:defRPr>
            </a:lvl1pPr>
          </a:lstStyle>
          <a:p>
            <a:pPr marL="38100">
              <a:lnSpc>
                <a:spcPct val="100000"/>
              </a:lnSpc>
              <a:spcBef>
                <a:spcPts val="110"/>
              </a:spcBef>
            </a:pPr>
            <a:fld id="{81D60167-4931-47E6-BA6A-407CBD079E47}" type="slidenum">
              <a:rPr spc="-65" dirty="0"/>
              <a:t>‹Nº›</a:t>
            </a:fld>
            <a:endParaRPr spc="-65"/>
          </a:p>
        </p:txBody>
      </p:sp>
    </p:spTree>
    <p:extLst>
      <p:ext uri="{BB962C8B-B14F-4D97-AF65-F5344CB8AC3E}">
        <p14:creationId xmlns:p14="http://schemas.microsoft.com/office/powerpoint/2010/main" val="3615853046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4468001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089678918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89770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945667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20105140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901960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033389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964842064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608472827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4529669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6702881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244453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38019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60845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23727842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6974309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502370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337568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4751369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6750666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FED1F5DE-1FB3-49C6-BB5C-83D3AB33A6E1}"/>
              </a:ext>
            </a:extLst>
          </p:cNvPr>
          <p:cNvGrpSpPr/>
          <p:nvPr userDrawn="1"/>
        </p:nvGrpSpPr>
        <p:grpSpPr>
          <a:xfrm>
            <a:off x="1086556" y="792686"/>
            <a:ext cx="3893600" cy="790361"/>
            <a:chOff x="1069585" y="1932374"/>
            <a:chExt cx="3893600" cy="790361"/>
          </a:xfrm>
        </p:grpSpPr>
        <p:pic>
          <p:nvPicPr>
            <p:cNvPr id="19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76F9365D-AF4E-4B39-B35B-D0A4E4862F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64456"/>
            <a:stretch/>
          </p:blipFill>
          <p:spPr>
            <a:xfrm>
              <a:off x="1069585" y="1932374"/>
              <a:ext cx="1064015" cy="790361"/>
            </a:xfrm>
            <a:prstGeom prst="rect">
              <a:avLst/>
            </a:prstGeom>
          </p:spPr>
        </p:pic>
        <p:pic>
          <p:nvPicPr>
            <p:cNvPr id="20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C42F9511-0878-414A-9C85-3104C16BCA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7114" r="365"/>
            <a:stretch/>
          </p:blipFill>
          <p:spPr>
            <a:xfrm>
              <a:off x="3739050" y="2104720"/>
              <a:ext cx="1224135" cy="445664"/>
            </a:xfrm>
            <a:prstGeom prst="rect">
              <a:avLst/>
            </a:prstGeom>
          </p:spPr>
        </p:pic>
        <p:pic>
          <p:nvPicPr>
            <p:cNvPr id="21" name="Picture 4" descr="Ogilvy - UNA">
              <a:extLst>
                <a:ext uri="{FF2B5EF4-FFF2-40B4-BE49-F238E27FC236}">
                  <a16:creationId xmlns:a16="http://schemas.microsoft.com/office/drawing/2014/main" id="{5FDDD58E-BD66-4438-A8D6-8D184C30D1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5016" y="2035073"/>
              <a:ext cx="1497496" cy="5849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4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0550157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409432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681032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330270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97811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89221199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12387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210362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261174732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776063301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833224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622989722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7068666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1381945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2923749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75932568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39234114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87028421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799932898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4511635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437850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066748373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378580534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726258136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989210996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578323166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18701014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4" descr="Ogilvy - UNA">
            <a:extLst>
              <a:ext uri="{FF2B5EF4-FFF2-40B4-BE49-F238E27FC236}">
                <a16:creationId xmlns:a16="http://schemas.microsoft.com/office/drawing/2014/main" id="{DF4E3B3B-0937-5015-9D68-6D83A91E9D6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905" y="6392847"/>
            <a:ext cx="748747" cy="29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5395807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064191214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033212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1838170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110622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4532424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5671420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6172472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974633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002591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62535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0357324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530809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504193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756196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834244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92581430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4270428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693192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0527809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922114656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 userDrawn="1"/>
        </p:nvSpPr>
        <p:spPr>
          <a:xfrm>
            <a:off x="0" y="6354"/>
            <a:ext cx="12191999" cy="684529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951229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566056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4/1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7316159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389009283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1993319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33013463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564229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602014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298191660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853100900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97579150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76083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6969104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826919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880277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89493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025181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5561995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9963471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5887286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8405073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7104538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FED1F5DE-1FB3-49C6-BB5C-83D3AB33A6E1}"/>
              </a:ext>
            </a:extLst>
          </p:cNvPr>
          <p:cNvGrpSpPr/>
          <p:nvPr userDrawn="1"/>
        </p:nvGrpSpPr>
        <p:grpSpPr>
          <a:xfrm>
            <a:off x="1086556" y="792686"/>
            <a:ext cx="3893600" cy="790361"/>
            <a:chOff x="1069585" y="1932374"/>
            <a:chExt cx="3893600" cy="790361"/>
          </a:xfrm>
        </p:grpSpPr>
        <p:pic>
          <p:nvPicPr>
            <p:cNvPr id="19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76F9365D-AF4E-4B39-B35B-D0A4E4862F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64456"/>
            <a:stretch/>
          </p:blipFill>
          <p:spPr>
            <a:xfrm>
              <a:off x="1069585" y="1932374"/>
              <a:ext cx="1064015" cy="790361"/>
            </a:xfrm>
            <a:prstGeom prst="rect">
              <a:avLst/>
            </a:prstGeom>
          </p:spPr>
        </p:pic>
        <p:pic>
          <p:nvPicPr>
            <p:cNvPr id="20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C42F9511-0878-414A-9C85-3104C16BCA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7114" r="365"/>
            <a:stretch/>
          </p:blipFill>
          <p:spPr>
            <a:xfrm>
              <a:off x="3739050" y="2104720"/>
              <a:ext cx="1224135" cy="445664"/>
            </a:xfrm>
            <a:prstGeom prst="rect">
              <a:avLst/>
            </a:prstGeom>
          </p:spPr>
        </p:pic>
        <p:pic>
          <p:nvPicPr>
            <p:cNvPr id="21" name="Picture 4" descr="Ogilvy - UNA">
              <a:extLst>
                <a:ext uri="{FF2B5EF4-FFF2-40B4-BE49-F238E27FC236}">
                  <a16:creationId xmlns:a16="http://schemas.microsoft.com/office/drawing/2014/main" id="{5FDDD58E-BD66-4438-A8D6-8D184C30D1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5016" y="2035073"/>
              <a:ext cx="1497496" cy="5849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4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0339025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64121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857659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580627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5282931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846558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986033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483737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219479840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584541986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86534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820886627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121982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7526684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9243109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3995265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385087696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387825924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892769003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1879184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419505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342586022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34903668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82198743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2648696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23372685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28718079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858603799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202221437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594397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321488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409864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2216289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2910910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051772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885312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137511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697882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266079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0087591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745152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65591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376796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416929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4993248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95899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9534035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8851618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390324206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 userDrawn="1"/>
        </p:nvSpPr>
        <p:spPr>
          <a:xfrm>
            <a:off x="0" y="6354"/>
            <a:ext cx="12191999" cy="684529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5624856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4/1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7712715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693574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0">
  <p:cSld name="Title slide 10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32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59" name="Google Shape;159;p3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160" name="Google Shape;160;p32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84976813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3">
  <p:cSld name="Title slide 3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Google Shape;59;p15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0;p1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61" name="Google Shape;61;p15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4885163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8">
  <p:cSld name="Title slide 8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" name="Google Shape;87;p22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88" name="Google Shape;88;p2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89" name="Google Shape;89;p22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16206199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02550733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2873462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504374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1246923691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506848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8044747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7597162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363465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9679256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624908937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943983366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3961818303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143210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219822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059939686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57802979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2E6161-A266-4B9E-451D-71EEEBD7CB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499C679-5DEB-ADA4-077F-39D366ED84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04E8D6E-CB67-C464-1E34-611E2977D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18C8C-F8E5-4435-800D-464FC98B101F}" type="datetimeFigureOut">
              <a:rPr lang="es-MX" smtClean="0"/>
              <a:t>18/04/24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DB4A84D-0B8D-1279-2005-624EBDA0F1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14D15B-F079-69FF-50D6-8A2710A75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641710091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299359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866582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800" b="0" i="0" u="none" strike="noStrike" kern="1200" cap="none" spc="0" normalizeH="0" baseline="0" noProof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rgbClr val="404E5C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2401280"/>
      </p:ext>
    </p:extLst>
  </p:cSld>
  <p:clrMapOvr>
    <a:masterClrMapping/>
  </p:clrMapOvr>
  <p:transition spd="med"/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6814422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498590"/>
          </a:xfrm>
          <a:custGeom>
            <a:avLst/>
            <a:gdLst/>
            <a:ahLst/>
            <a:cxnLst/>
            <a:rect l="l" t="t" r="r" b="b"/>
            <a:pathLst>
              <a:path w="12192000" h="6498590">
                <a:moveTo>
                  <a:pt x="0" y="6498336"/>
                </a:moveTo>
                <a:lnTo>
                  <a:pt x="12192000" y="6498336"/>
                </a:lnTo>
                <a:lnTo>
                  <a:pt x="12192000" y="0"/>
                </a:lnTo>
                <a:lnTo>
                  <a:pt x="0" y="0"/>
                </a:lnTo>
                <a:lnTo>
                  <a:pt x="0" y="6498336"/>
                </a:lnTo>
                <a:close/>
              </a:path>
            </a:pathLst>
          </a:custGeom>
          <a:solidFill>
            <a:srgbClr val="ECF1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0" y="6243828"/>
            <a:ext cx="12192000" cy="614680"/>
          </a:xfrm>
          <a:custGeom>
            <a:avLst/>
            <a:gdLst/>
            <a:ahLst/>
            <a:cxnLst/>
            <a:rect l="l" t="t" r="r" b="b"/>
            <a:pathLst>
              <a:path w="12192000" h="614679">
                <a:moveTo>
                  <a:pt x="12192000" y="254508"/>
                </a:moveTo>
                <a:lnTo>
                  <a:pt x="6347244" y="254508"/>
                </a:lnTo>
                <a:lnTo>
                  <a:pt x="6347460" y="252222"/>
                </a:lnTo>
                <a:lnTo>
                  <a:pt x="6343409" y="206895"/>
                </a:lnTo>
                <a:lnTo>
                  <a:pt x="6331725" y="164223"/>
                </a:lnTo>
                <a:lnTo>
                  <a:pt x="6313132" y="124929"/>
                </a:lnTo>
                <a:lnTo>
                  <a:pt x="6288329" y="89725"/>
                </a:lnTo>
                <a:lnTo>
                  <a:pt x="6258026" y="59321"/>
                </a:lnTo>
                <a:lnTo>
                  <a:pt x="6222936" y="34442"/>
                </a:lnTo>
                <a:lnTo>
                  <a:pt x="6183757" y="15786"/>
                </a:lnTo>
                <a:lnTo>
                  <a:pt x="6141212" y="4064"/>
                </a:lnTo>
                <a:lnTo>
                  <a:pt x="6096000" y="0"/>
                </a:lnTo>
                <a:lnTo>
                  <a:pt x="6050775" y="4064"/>
                </a:lnTo>
                <a:lnTo>
                  <a:pt x="6008230" y="15786"/>
                </a:lnTo>
                <a:lnTo>
                  <a:pt x="5969051" y="34442"/>
                </a:lnTo>
                <a:lnTo>
                  <a:pt x="5933960" y="59321"/>
                </a:lnTo>
                <a:lnTo>
                  <a:pt x="5903658" y="89725"/>
                </a:lnTo>
                <a:lnTo>
                  <a:pt x="5878855" y="124929"/>
                </a:lnTo>
                <a:lnTo>
                  <a:pt x="5860262" y="164223"/>
                </a:lnTo>
                <a:lnTo>
                  <a:pt x="5848578" y="206895"/>
                </a:lnTo>
                <a:lnTo>
                  <a:pt x="5844540" y="252222"/>
                </a:lnTo>
                <a:lnTo>
                  <a:pt x="5844743" y="254508"/>
                </a:lnTo>
                <a:lnTo>
                  <a:pt x="0" y="254508"/>
                </a:lnTo>
                <a:lnTo>
                  <a:pt x="0" y="614172"/>
                </a:lnTo>
                <a:lnTo>
                  <a:pt x="12192000" y="614172"/>
                </a:lnTo>
                <a:lnTo>
                  <a:pt x="12192000" y="25450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940552" y="6335268"/>
            <a:ext cx="320039" cy="321563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8/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404E5C"/>
                </a:solidFill>
                <a:latin typeface="Verdana"/>
                <a:cs typeface="Verdana"/>
              </a:defRPr>
            </a:lvl1pPr>
          </a:lstStyle>
          <a:p>
            <a:pPr marL="38100">
              <a:lnSpc>
                <a:spcPct val="100000"/>
              </a:lnSpc>
              <a:spcBef>
                <a:spcPts val="110"/>
              </a:spcBef>
            </a:pPr>
            <a:fld id="{81D60167-4931-47E6-BA6A-407CBD079E47}" type="slidenum">
              <a:rPr spc="-65" dirty="0"/>
              <a:t>‹Nº›</a:t>
            </a:fld>
            <a:endParaRPr spc="-65"/>
          </a:p>
        </p:txBody>
      </p:sp>
    </p:spTree>
    <p:extLst>
      <p:ext uri="{BB962C8B-B14F-4D97-AF65-F5344CB8AC3E}">
        <p14:creationId xmlns:p14="http://schemas.microsoft.com/office/powerpoint/2010/main" val="3446188403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906545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664704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37E1EE0A-AE65-8220-D41A-89EDA19D0065}"/>
              </a:ext>
            </a:extLst>
          </p:cNvPr>
          <p:cNvGrpSpPr/>
          <p:nvPr userDrawn="1"/>
        </p:nvGrpSpPr>
        <p:grpSpPr>
          <a:xfrm>
            <a:off x="880869" y="2743200"/>
            <a:ext cx="3893600" cy="790361"/>
            <a:chOff x="1069585" y="1932374"/>
            <a:chExt cx="3893600" cy="790361"/>
          </a:xfrm>
        </p:grpSpPr>
        <p:pic>
          <p:nvPicPr>
            <p:cNvPr id="3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0C33EE2E-50E1-AB44-03D5-F7020A27D7A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64456"/>
            <a:stretch/>
          </p:blipFill>
          <p:spPr>
            <a:xfrm>
              <a:off x="1069585" y="1932374"/>
              <a:ext cx="1064015" cy="790361"/>
            </a:xfrm>
            <a:prstGeom prst="rect">
              <a:avLst/>
            </a:prstGeom>
          </p:spPr>
        </p:pic>
        <p:pic>
          <p:nvPicPr>
            <p:cNvPr id="5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D764C30D-8D9F-579D-305B-6E1D48A989E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7114" r="365"/>
            <a:stretch/>
          </p:blipFill>
          <p:spPr>
            <a:xfrm>
              <a:off x="3739050" y="2104720"/>
              <a:ext cx="1224135" cy="445664"/>
            </a:xfrm>
            <a:prstGeom prst="rect">
              <a:avLst/>
            </a:prstGeom>
          </p:spPr>
        </p:pic>
        <p:pic>
          <p:nvPicPr>
            <p:cNvPr id="7" name="Picture 4" descr="Ogilvy - UNA">
              <a:extLst>
                <a:ext uri="{FF2B5EF4-FFF2-40B4-BE49-F238E27FC236}">
                  <a16:creationId xmlns:a16="http://schemas.microsoft.com/office/drawing/2014/main" id="{149C892F-6955-71DE-C431-4269D688C8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5016" y="2035073"/>
              <a:ext cx="1497496" cy="5849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96684436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00688551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099131892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547175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69433235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738868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  <p:pic>
        <p:nvPicPr>
          <p:cNvPr id="10" name="Picture 4" descr="Ogilvy - UNA">
            <a:extLst>
              <a:ext uri="{FF2B5EF4-FFF2-40B4-BE49-F238E27FC236}">
                <a16:creationId xmlns:a16="http://schemas.microsoft.com/office/drawing/2014/main" id="{248693B8-59AA-40FA-97D4-1B426D15FF0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905" y="6392847"/>
            <a:ext cx="748747" cy="29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0010512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53605843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795351190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50032787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020530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956805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942552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254931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540470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1686813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847755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1749138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4204198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0721963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739775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482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70771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189326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820520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801025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690824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421329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491102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952473575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158340172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911997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682502989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110406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485056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4941416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0214688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365521620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299010224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060272947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6631494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658118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668464884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625504856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24401583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283138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131962831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24690537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868031538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159448868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724594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308961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294955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6445789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567087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261268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545417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590246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94046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  <p:pic>
        <p:nvPicPr>
          <p:cNvPr id="9" name="Picture 4" descr="Ogilvy - UNA">
            <a:extLst>
              <a:ext uri="{FF2B5EF4-FFF2-40B4-BE49-F238E27FC236}">
                <a16:creationId xmlns:a16="http://schemas.microsoft.com/office/drawing/2014/main" id="{FE905FB4-A6C6-4B03-AB86-BBAD183E65C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905" y="6392847"/>
            <a:ext cx="748747" cy="29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1123657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187881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66931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992505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797847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3000088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1054316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928653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5211284"/>
      </p:ext>
    </p:extLst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0747593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94455305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4/1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850334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0">
  <p:cSld name="Title slide 10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32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59" name="Google Shape;159;p3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tabLst/>
              <a:defRPr/>
            </a:pPr>
            <a:fld id="{00000000-1234-1234-1234-123412341234}" type="slidenum">
              <a:rPr kumimoji="0" lang="es-GT" sz="1333" b="0" i="0" u="none" strike="noStrike" kern="1200" cap="none" spc="0" normalizeH="0" baseline="0" noProof="0" smtClean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  <a:tabLst/>
                <a:defRPr/>
              </a:pPr>
              <a:t>‹Nº›</a:t>
            </a:fld>
            <a:endParaRPr kumimoji="0" lang="es-GT" sz="1333" b="0" i="0" u="none" strike="noStrike" kern="1200" cap="none" spc="0" normalizeH="0" baseline="0" noProof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60" name="Google Shape;160;p32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48339780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3">
  <p:cSld name="Title slide 3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Google Shape;59;p15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0;p1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s-GT" sz="800" b="0" i="0" u="none" strike="noStrike" kern="1200" cap="none" spc="0" normalizeH="0" baseline="0" noProof="0" smtClean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GT" sz="800" b="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61" name="Google Shape;61;p15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98710884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8">
  <p:cSld name="Title slide 8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" name="Google Shape;87;p22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88" name="Google Shape;88;p2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s-GT" sz="800" b="0" i="0" u="none" strike="noStrike" kern="1200" cap="none" spc="0" normalizeH="0" baseline="0" noProof="0" smtClean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GT" sz="800" b="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89" name="Google Shape;89;p22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82718348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7070022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6CE7D5-CF57-46EF-B807-FDD0502418D4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18/24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EA680-D336-4FF7-8B7A-9848BB0A1C32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4770548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1D7550-0EB0-3A43-B3ED-278106F7B6C0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2426048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3530220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068521914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71320061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147460057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745804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7483528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3200" y="2436871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1192AA1C-55A0-5423-BE6D-A01C5C4FF804}"/>
              </a:ext>
            </a:extLst>
          </p:cNvPr>
          <p:cNvSpPr/>
          <p:nvPr userDrawn="1"/>
        </p:nvSpPr>
        <p:spPr>
          <a:xfrm>
            <a:off x="0" y="6233750"/>
            <a:ext cx="12191999" cy="624250"/>
          </a:xfrm>
          <a:prstGeom prst="rect">
            <a:avLst/>
          </a:prstGeom>
          <a:solidFill>
            <a:srgbClr val="ED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257291974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438527690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228143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5745977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3294075388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37879008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679259"/>
      </p:ext>
    </p:extLst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2495909862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97294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31529013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06052071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2E6161-A266-4B9E-451D-71EEEBD7CB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499C679-5DEB-ADA4-077F-39D366ED84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04E8D6E-CB67-C464-1E34-611E2977D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18C8C-F8E5-4435-800D-464FC98B101F}" type="datetimeFigureOut">
              <a:rPr lang="es-MX" smtClean="0"/>
              <a:t>18/04/24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DB4A84D-0B8D-1279-2005-624EBDA0F1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14D15B-F079-69FF-50D6-8A2710A75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774580415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8004847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424183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800" b="0" i="0" u="none" strike="noStrike" kern="1200" cap="none" spc="0" normalizeH="0" baseline="0" noProof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rgbClr val="404E5C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3" name="Picture 10">
            <a:extLst>
              <a:ext uri="{FF2B5EF4-FFF2-40B4-BE49-F238E27FC236}">
                <a16:creationId xmlns:a16="http://schemas.microsoft.com/office/drawing/2014/main" id="{0B777C61-4BF1-4F47-B48C-8E8373E1D8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  <p:pic>
        <p:nvPicPr>
          <p:cNvPr id="4" name="Picture 4" descr="Ogilvy - UNA">
            <a:extLst>
              <a:ext uri="{FF2B5EF4-FFF2-40B4-BE49-F238E27FC236}">
                <a16:creationId xmlns:a16="http://schemas.microsoft.com/office/drawing/2014/main" id="{1278D975-7145-44D4-8727-707C92A6BD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905" y="6392847"/>
            <a:ext cx="748747" cy="29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E8BA226A-7CC4-4C36-A6F7-195050F18566}"/>
              </a:ext>
            </a:extLst>
          </p:cNvPr>
          <p:cNvSpPr/>
          <p:nvPr userDrawn="1"/>
        </p:nvSpPr>
        <p:spPr>
          <a:xfrm>
            <a:off x="5695406" y="6217920"/>
            <a:ext cx="705394" cy="5225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1994680006"/>
      </p:ext>
    </p:extLst>
  </p:cSld>
  <p:clrMapOvr>
    <a:masterClrMapping/>
  </p:clrMapOvr>
  <p:transition spd="med"/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800" b="0" i="0" u="none" strike="noStrike" kern="1200" cap="none" spc="0" normalizeH="0" baseline="0" noProof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sz="800" b="0" i="0" u="none" strike="noStrike" kern="1200" cap="none" spc="0" normalizeH="0" baseline="0" noProof="0">
              <a:ln>
                <a:noFill/>
              </a:ln>
              <a:solidFill>
                <a:srgbClr val="404E5C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2266956"/>
      </p:ext>
    </p:extLst>
  </p:cSld>
  <p:clrMapOvr>
    <a:masterClrMapping/>
  </p:clrMapOvr>
  <p:transition spd="med"/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8818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9418962"/>
      </p:ext>
    </p:extLst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4/1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7706577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498590"/>
          </a:xfrm>
          <a:custGeom>
            <a:avLst/>
            <a:gdLst/>
            <a:ahLst/>
            <a:cxnLst/>
            <a:rect l="l" t="t" r="r" b="b"/>
            <a:pathLst>
              <a:path w="12192000" h="6498590">
                <a:moveTo>
                  <a:pt x="0" y="6498336"/>
                </a:moveTo>
                <a:lnTo>
                  <a:pt x="12192000" y="6498336"/>
                </a:lnTo>
                <a:lnTo>
                  <a:pt x="12192000" y="0"/>
                </a:lnTo>
                <a:lnTo>
                  <a:pt x="0" y="0"/>
                </a:lnTo>
                <a:lnTo>
                  <a:pt x="0" y="6498336"/>
                </a:lnTo>
                <a:close/>
              </a:path>
            </a:pathLst>
          </a:custGeom>
          <a:solidFill>
            <a:srgbClr val="ECF1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0" y="6243828"/>
            <a:ext cx="12192000" cy="614680"/>
          </a:xfrm>
          <a:custGeom>
            <a:avLst/>
            <a:gdLst/>
            <a:ahLst/>
            <a:cxnLst/>
            <a:rect l="l" t="t" r="r" b="b"/>
            <a:pathLst>
              <a:path w="12192000" h="614679">
                <a:moveTo>
                  <a:pt x="12192000" y="254508"/>
                </a:moveTo>
                <a:lnTo>
                  <a:pt x="6347244" y="254508"/>
                </a:lnTo>
                <a:lnTo>
                  <a:pt x="6347460" y="252222"/>
                </a:lnTo>
                <a:lnTo>
                  <a:pt x="6343409" y="206895"/>
                </a:lnTo>
                <a:lnTo>
                  <a:pt x="6331725" y="164223"/>
                </a:lnTo>
                <a:lnTo>
                  <a:pt x="6313132" y="124929"/>
                </a:lnTo>
                <a:lnTo>
                  <a:pt x="6288329" y="89725"/>
                </a:lnTo>
                <a:lnTo>
                  <a:pt x="6258026" y="59321"/>
                </a:lnTo>
                <a:lnTo>
                  <a:pt x="6222936" y="34442"/>
                </a:lnTo>
                <a:lnTo>
                  <a:pt x="6183757" y="15786"/>
                </a:lnTo>
                <a:lnTo>
                  <a:pt x="6141212" y="4064"/>
                </a:lnTo>
                <a:lnTo>
                  <a:pt x="6096000" y="0"/>
                </a:lnTo>
                <a:lnTo>
                  <a:pt x="6050775" y="4064"/>
                </a:lnTo>
                <a:lnTo>
                  <a:pt x="6008230" y="15786"/>
                </a:lnTo>
                <a:lnTo>
                  <a:pt x="5969051" y="34442"/>
                </a:lnTo>
                <a:lnTo>
                  <a:pt x="5933960" y="59321"/>
                </a:lnTo>
                <a:lnTo>
                  <a:pt x="5903658" y="89725"/>
                </a:lnTo>
                <a:lnTo>
                  <a:pt x="5878855" y="124929"/>
                </a:lnTo>
                <a:lnTo>
                  <a:pt x="5860262" y="164223"/>
                </a:lnTo>
                <a:lnTo>
                  <a:pt x="5848578" y="206895"/>
                </a:lnTo>
                <a:lnTo>
                  <a:pt x="5844540" y="252222"/>
                </a:lnTo>
                <a:lnTo>
                  <a:pt x="5844743" y="254508"/>
                </a:lnTo>
                <a:lnTo>
                  <a:pt x="0" y="254508"/>
                </a:lnTo>
                <a:lnTo>
                  <a:pt x="0" y="614172"/>
                </a:lnTo>
                <a:lnTo>
                  <a:pt x="12192000" y="614172"/>
                </a:lnTo>
                <a:lnTo>
                  <a:pt x="12192000" y="25450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940552" y="6335268"/>
            <a:ext cx="320039" cy="321563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8/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404E5C"/>
                </a:solidFill>
                <a:latin typeface="Verdana"/>
                <a:cs typeface="Verdana"/>
              </a:defRPr>
            </a:lvl1pPr>
          </a:lstStyle>
          <a:p>
            <a:pPr marL="38100">
              <a:lnSpc>
                <a:spcPct val="100000"/>
              </a:lnSpc>
              <a:spcBef>
                <a:spcPts val="110"/>
              </a:spcBef>
            </a:pPr>
            <a:fld id="{81D60167-4931-47E6-BA6A-407CBD079E47}" type="slidenum">
              <a:rPr spc="-65" dirty="0"/>
              <a:t>‹Nº›</a:t>
            </a:fld>
            <a:endParaRPr spc="-65"/>
          </a:p>
        </p:txBody>
      </p:sp>
    </p:spTree>
    <p:extLst>
      <p:ext uri="{BB962C8B-B14F-4D97-AF65-F5344CB8AC3E}">
        <p14:creationId xmlns:p14="http://schemas.microsoft.com/office/powerpoint/2010/main" val="2457954148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4" descr="Ogilvy - UNA">
            <a:extLst>
              <a:ext uri="{FF2B5EF4-FFF2-40B4-BE49-F238E27FC236}">
                <a16:creationId xmlns:a16="http://schemas.microsoft.com/office/drawing/2014/main" id="{272E9E88-C746-35D1-0013-58AF65BB5F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905" y="6392847"/>
            <a:ext cx="748747" cy="29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4482618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050716"/>
      </p:ext>
    </p:extLst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6253552"/>
      </p:ext>
    </p:extLst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6655587"/>
      </p:ext>
    </p:extLst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688231"/>
      </p:ext>
    </p:extLst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34370390"/>
      </p:ext>
    </p:extLst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786797400"/>
      </p:ext>
    </p:extLst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2082021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8033954"/>
      </p:ext>
    </p:extLst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0824103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2604272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612219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364927"/>
      </p:ext>
    </p:extLst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1209946"/>
      </p:ext>
    </p:extLst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271304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8893300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6395437"/>
      </p:ext>
    </p:extLst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6320911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FED1F5DE-1FB3-49C6-BB5C-83D3AB33A6E1}"/>
              </a:ext>
            </a:extLst>
          </p:cNvPr>
          <p:cNvGrpSpPr/>
          <p:nvPr userDrawn="1"/>
        </p:nvGrpSpPr>
        <p:grpSpPr>
          <a:xfrm>
            <a:off x="1086556" y="792686"/>
            <a:ext cx="3893600" cy="790361"/>
            <a:chOff x="1069585" y="1932374"/>
            <a:chExt cx="3893600" cy="790361"/>
          </a:xfrm>
        </p:grpSpPr>
        <p:pic>
          <p:nvPicPr>
            <p:cNvPr id="19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76F9365D-AF4E-4B39-B35B-D0A4E4862F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64456"/>
            <a:stretch/>
          </p:blipFill>
          <p:spPr>
            <a:xfrm>
              <a:off x="1069585" y="1932374"/>
              <a:ext cx="1064015" cy="790361"/>
            </a:xfrm>
            <a:prstGeom prst="rect">
              <a:avLst/>
            </a:prstGeom>
          </p:spPr>
        </p:pic>
        <p:pic>
          <p:nvPicPr>
            <p:cNvPr id="20" name="Picture 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C42F9511-0878-414A-9C85-3104C16BCA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7114" r="365"/>
            <a:stretch/>
          </p:blipFill>
          <p:spPr>
            <a:xfrm>
              <a:off x="3739050" y="2104720"/>
              <a:ext cx="1224135" cy="445664"/>
            </a:xfrm>
            <a:prstGeom prst="rect">
              <a:avLst/>
            </a:prstGeom>
          </p:spPr>
        </p:pic>
        <p:pic>
          <p:nvPicPr>
            <p:cNvPr id="21" name="Picture 4" descr="Ogilvy - UNA">
              <a:extLst>
                <a:ext uri="{FF2B5EF4-FFF2-40B4-BE49-F238E27FC236}">
                  <a16:creationId xmlns:a16="http://schemas.microsoft.com/office/drawing/2014/main" id="{5FDDD58E-BD66-4438-A8D6-8D184C30D1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5016" y="2035073"/>
              <a:ext cx="1497496" cy="5849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4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874598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1775776"/>
      </p:ext>
    </p:extLst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3329689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232825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276689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73131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521430"/>
      </p:ext>
    </p:extLst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720700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086170281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205459849"/>
      </p:ext>
    </p:extLst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208745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4422289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160716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46803"/>
      </p:ext>
    </p:extLst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7610142"/>
      </p:ext>
    </p:extLst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7277773"/>
      </p:ext>
    </p:extLst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5549129"/>
      </p:ext>
    </p:extLst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990339592"/>
      </p:ext>
    </p:extLst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014619599"/>
      </p:ext>
    </p:extLst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976777488"/>
      </p:ext>
    </p:extLst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7115691"/>
      </p:ext>
    </p:extLst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36853"/>
      </p:ext>
    </p:extLst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92266304"/>
      </p:ext>
    </p:extLst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5488846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515713044"/>
      </p:ext>
    </p:extLst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1224950"/>
      </p:ext>
    </p:extLst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40134613"/>
      </p:ext>
    </p:extLst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894376757"/>
      </p:ext>
    </p:extLst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081010222"/>
      </p:ext>
    </p:extLst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027051756"/>
      </p:ext>
    </p:extLst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465691"/>
      </p:ext>
    </p:extLst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196737"/>
      </p:ext>
    </p:extLst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695449"/>
      </p:ext>
    </p:extLst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8772899"/>
      </p:ext>
    </p:extLst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04379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26038467"/>
      </p:ext>
    </p:extLst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7427207"/>
      </p:ext>
    </p:extLst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929256"/>
      </p:ext>
    </p:extLst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936277"/>
      </p:ext>
    </p:extLst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971265"/>
      </p:ext>
    </p:extLst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9231552"/>
      </p:ext>
    </p:extLst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06268"/>
      </p:ext>
    </p:extLst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883017"/>
      </p:ext>
    </p:extLst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106260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8638205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282511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413801255"/>
      </p:ext>
    </p:extLst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014532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9613201"/>
      </p:ext>
    </p:extLst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4177061493"/>
      </p:ext>
    </p:extLst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 userDrawn="1"/>
        </p:nvSpPr>
        <p:spPr>
          <a:xfrm>
            <a:off x="0" y="6354"/>
            <a:ext cx="12191999" cy="684529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5627548"/>
      </p:ext>
    </p:extLst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4/1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473657"/>
      </p:ext>
    </p:extLst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343205"/>
      </p:ext>
    </p:extLst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0">
  <p:cSld name="Title slide 10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Google Shape;158;p32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59" name="Google Shape;159;p3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160" name="Google Shape;160;p32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68908763"/>
      </p:ext>
    </p:extLst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3">
  <p:cSld name="Title slide 3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Google Shape;59;p15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0;p1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61" name="Google Shape;61;p15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26168162"/>
      </p:ext>
    </p:extLst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8">
  <p:cSld name="Title slide 8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" name="Google Shape;87;p22"/>
          <p:cNvPicPr preferRelativeResize="0"/>
          <p:nvPr/>
        </p:nvPicPr>
        <p:blipFill rotWithShape="1">
          <a:blip r:embed="rId2">
            <a:alphaModFix/>
          </a:blip>
          <a:srcRect l="8886" t="30898" r="22009" b="1461"/>
          <a:stretch/>
        </p:blipFill>
        <p:spPr>
          <a:xfrm rot="10800000" flipH="1">
            <a:off x="0" y="0"/>
            <a:ext cx="1219163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88" name="Google Shape;88;p2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s-GT" smtClean="0"/>
              <a:pPr/>
              <a:t>‹Nº›</a:t>
            </a:fld>
            <a:endParaRPr lang="es-GT"/>
          </a:p>
        </p:txBody>
      </p:sp>
      <p:pic>
        <p:nvPicPr>
          <p:cNvPr id="89" name="Google Shape;89;p22" descr="ANZU BRAND MARK WHITE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85" y="400385"/>
            <a:ext cx="454496" cy="4238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4700954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768582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72346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4858606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89781118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9043238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6736683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59268158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5765740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82549064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644602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60594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60093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62823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44262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526259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4117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247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gi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1.xml"/><Relationship Id="rId13" Type="http://schemas.openxmlformats.org/officeDocument/2006/relationships/slideLayout" Target="../slideLayouts/slideLayout376.xml"/><Relationship Id="rId3" Type="http://schemas.openxmlformats.org/officeDocument/2006/relationships/slideLayout" Target="../slideLayouts/slideLayout366.xml"/><Relationship Id="rId7" Type="http://schemas.openxmlformats.org/officeDocument/2006/relationships/slideLayout" Target="../slideLayouts/slideLayout370.xml"/><Relationship Id="rId12" Type="http://schemas.openxmlformats.org/officeDocument/2006/relationships/slideLayout" Target="../slideLayouts/slideLayout375.xml"/><Relationship Id="rId2" Type="http://schemas.openxmlformats.org/officeDocument/2006/relationships/slideLayout" Target="../slideLayouts/slideLayout365.xml"/><Relationship Id="rId16" Type="http://schemas.openxmlformats.org/officeDocument/2006/relationships/image" Target="../media/image1.gif"/><Relationship Id="rId1" Type="http://schemas.openxmlformats.org/officeDocument/2006/relationships/slideLayout" Target="../slideLayouts/slideLayout364.xml"/><Relationship Id="rId6" Type="http://schemas.openxmlformats.org/officeDocument/2006/relationships/slideLayout" Target="../slideLayouts/slideLayout369.xml"/><Relationship Id="rId11" Type="http://schemas.openxmlformats.org/officeDocument/2006/relationships/slideLayout" Target="../slideLayouts/slideLayout374.xml"/><Relationship Id="rId5" Type="http://schemas.openxmlformats.org/officeDocument/2006/relationships/slideLayout" Target="../slideLayouts/slideLayout368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373.xml"/><Relationship Id="rId4" Type="http://schemas.openxmlformats.org/officeDocument/2006/relationships/slideLayout" Target="../slideLayouts/slideLayout367.xml"/><Relationship Id="rId9" Type="http://schemas.openxmlformats.org/officeDocument/2006/relationships/slideLayout" Target="../slideLayouts/slideLayout372.xml"/><Relationship Id="rId14" Type="http://schemas.openxmlformats.org/officeDocument/2006/relationships/slideLayout" Target="../slideLayouts/slideLayout377.xml"/></Relationships>
</file>

<file path=ppt/slideMasters/_rels/slideMaster1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03.xml"/><Relationship Id="rId21" Type="http://schemas.openxmlformats.org/officeDocument/2006/relationships/slideLayout" Target="../slideLayouts/slideLayout398.xml"/><Relationship Id="rId42" Type="http://schemas.openxmlformats.org/officeDocument/2006/relationships/slideLayout" Target="../slideLayouts/slideLayout419.xml"/><Relationship Id="rId47" Type="http://schemas.openxmlformats.org/officeDocument/2006/relationships/slideLayout" Target="../slideLayouts/slideLayout424.xml"/><Relationship Id="rId63" Type="http://schemas.openxmlformats.org/officeDocument/2006/relationships/slideLayout" Target="../slideLayouts/slideLayout440.xml"/><Relationship Id="rId68" Type="http://schemas.openxmlformats.org/officeDocument/2006/relationships/slideLayout" Target="../slideLayouts/slideLayout445.xml"/><Relationship Id="rId7" Type="http://schemas.openxmlformats.org/officeDocument/2006/relationships/slideLayout" Target="../slideLayouts/slideLayout384.xml"/><Relationship Id="rId71" Type="http://schemas.openxmlformats.org/officeDocument/2006/relationships/image" Target="../media/image9.jpeg"/><Relationship Id="rId2" Type="http://schemas.openxmlformats.org/officeDocument/2006/relationships/slideLayout" Target="../slideLayouts/slideLayout379.xml"/><Relationship Id="rId16" Type="http://schemas.openxmlformats.org/officeDocument/2006/relationships/slideLayout" Target="../slideLayouts/slideLayout393.xml"/><Relationship Id="rId29" Type="http://schemas.openxmlformats.org/officeDocument/2006/relationships/slideLayout" Target="../slideLayouts/slideLayout406.xml"/><Relationship Id="rId11" Type="http://schemas.openxmlformats.org/officeDocument/2006/relationships/slideLayout" Target="../slideLayouts/slideLayout388.xml"/><Relationship Id="rId24" Type="http://schemas.openxmlformats.org/officeDocument/2006/relationships/slideLayout" Target="../slideLayouts/slideLayout401.xml"/><Relationship Id="rId32" Type="http://schemas.openxmlformats.org/officeDocument/2006/relationships/slideLayout" Target="../slideLayouts/slideLayout409.xml"/><Relationship Id="rId37" Type="http://schemas.openxmlformats.org/officeDocument/2006/relationships/slideLayout" Target="../slideLayouts/slideLayout414.xml"/><Relationship Id="rId40" Type="http://schemas.openxmlformats.org/officeDocument/2006/relationships/slideLayout" Target="../slideLayouts/slideLayout417.xml"/><Relationship Id="rId45" Type="http://schemas.openxmlformats.org/officeDocument/2006/relationships/slideLayout" Target="../slideLayouts/slideLayout422.xml"/><Relationship Id="rId53" Type="http://schemas.openxmlformats.org/officeDocument/2006/relationships/slideLayout" Target="../slideLayouts/slideLayout430.xml"/><Relationship Id="rId58" Type="http://schemas.openxmlformats.org/officeDocument/2006/relationships/slideLayout" Target="../slideLayouts/slideLayout435.xml"/><Relationship Id="rId66" Type="http://schemas.openxmlformats.org/officeDocument/2006/relationships/slideLayout" Target="../slideLayouts/slideLayout443.xml"/><Relationship Id="rId5" Type="http://schemas.openxmlformats.org/officeDocument/2006/relationships/slideLayout" Target="../slideLayouts/slideLayout382.xml"/><Relationship Id="rId61" Type="http://schemas.openxmlformats.org/officeDocument/2006/relationships/slideLayout" Target="../slideLayouts/slideLayout438.xml"/><Relationship Id="rId19" Type="http://schemas.openxmlformats.org/officeDocument/2006/relationships/slideLayout" Target="../slideLayouts/slideLayout396.xml"/><Relationship Id="rId14" Type="http://schemas.openxmlformats.org/officeDocument/2006/relationships/slideLayout" Target="../slideLayouts/slideLayout391.xml"/><Relationship Id="rId22" Type="http://schemas.openxmlformats.org/officeDocument/2006/relationships/slideLayout" Target="../slideLayouts/slideLayout399.xml"/><Relationship Id="rId27" Type="http://schemas.openxmlformats.org/officeDocument/2006/relationships/slideLayout" Target="../slideLayouts/slideLayout404.xml"/><Relationship Id="rId30" Type="http://schemas.openxmlformats.org/officeDocument/2006/relationships/slideLayout" Target="../slideLayouts/slideLayout407.xml"/><Relationship Id="rId35" Type="http://schemas.openxmlformats.org/officeDocument/2006/relationships/slideLayout" Target="../slideLayouts/slideLayout412.xml"/><Relationship Id="rId43" Type="http://schemas.openxmlformats.org/officeDocument/2006/relationships/slideLayout" Target="../slideLayouts/slideLayout420.xml"/><Relationship Id="rId48" Type="http://schemas.openxmlformats.org/officeDocument/2006/relationships/slideLayout" Target="../slideLayouts/slideLayout425.xml"/><Relationship Id="rId56" Type="http://schemas.openxmlformats.org/officeDocument/2006/relationships/slideLayout" Target="../slideLayouts/slideLayout433.xml"/><Relationship Id="rId64" Type="http://schemas.openxmlformats.org/officeDocument/2006/relationships/slideLayout" Target="../slideLayouts/slideLayout441.xml"/><Relationship Id="rId69" Type="http://schemas.openxmlformats.org/officeDocument/2006/relationships/theme" Target="../theme/theme11.xml"/><Relationship Id="rId8" Type="http://schemas.openxmlformats.org/officeDocument/2006/relationships/slideLayout" Target="../slideLayouts/slideLayout385.xml"/><Relationship Id="rId51" Type="http://schemas.openxmlformats.org/officeDocument/2006/relationships/slideLayout" Target="../slideLayouts/slideLayout428.xml"/><Relationship Id="rId3" Type="http://schemas.openxmlformats.org/officeDocument/2006/relationships/slideLayout" Target="../slideLayouts/slideLayout380.xml"/><Relationship Id="rId12" Type="http://schemas.openxmlformats.org/officeDocument/2006/relationships/slideLayout" Target="../slideLayouts/slideLayout389.xml"/><Relationship Id="rId17" Type="http://schemas.openxmlformats.org/officeDocument/2006/relationships/slideLayout" Target="../slideLayouts/slideLayout394.xml"/><Relationship Id="rId25" Type="http://schemas.openxmlformats.org/officeDocument/2006/relationships/slideLayout" Target="../slideLayouts/slideLayout402.xml"/><Relationship Id="rId33" Type="http://schemas.openxmlformats.org/officeDocument/2006/relationships/slideLayout" Target="../slideLayouts/slideLayout410.xml"/><Relationship Id="rId38" Type="http://schemas.openxmlformats.org/officeDocument/2006/relationships/slideLayout" Target="../slideLayouts/slideLayout415.xml"/><Relationship Id="rId46" Type="http://schemas.openxmlformats.org/officeDocument/2006/relationships/slideLayout" Target="../slideLayouts/slideLayout423.xml"/><Relationship Id="rId59" Type="http://schemas.openxmlformats.org/officeDocument/2006/relationships/slideLayout" Target="../slideLayouts/slideLayout436.xml"/><Relationship Id="rId67" Type="http://schemas.openxmlformats.org/officeDocument/2006/relationships/slideLayout" Target="../slideLayouts/slideLayout444.xml"/><Relationship Id="rId20" Type="http://schemas.openxmlformats.org/officeDocument/2006/relationships/slideLayout" Target="../slideLayouts/slideLayout397.xml"/><Relationship Id="rId41" Type="http://schemas.openxmlformats.org/officeDocument/2006/relationships/slideLayout" Target="../slideLayouts/slideLayout418.xml"/><Relationship Id="rId54" Type="http://schemas.openxmlformats.org/officeDocument/2006/relationships/slideLayout" Target="../slideLayouts/slideLayout431.xml"/><Relationship Id="rId62" Type="http://schemas.openxmlformats.org/officeDocument/2006/relationships/slideLayout" Target="../slideLayouts/slideLayout439.xml"/><Relationship Id="rId70" Type="http://schemas.openxmlformats.org/officeDocument/2006/relationships/image" Target="../media/image6.gif"/><Relationship Id="rId1" Type="http://schemas.openxmlformats.org/officeDocument/2006/relationships/slideLayout" Target="../slideLayouts/slideLayout378.xml"/><Relationship Id="rId6" Type="http://schemas.openxmlformats.org/officeDocument/2006/relationships/slideLayout" Target="../slideLayouts/slideLayout383.xml"/><Relationship Id="rId15" Type="http://schemas.openxmlformats.org/officeDocument/2006/relationships/slideLayout" Target="../slideLayouts/slideLayout392.xml"/><Relationship Id="rId23" Type="http://schemas.openxmlformats.org/officeDocument/2006/relationships/slideLayout" Target="../slideLayouts/slideLayout400.xml"/><Relationship Id="rId28" Type="http://schemas.openxmlformats.org/officeDocument/2006/relationships/slideLayout" Target="../slideLayouts/slideLayout405.xml"/><Relationship Id="rId36" Type="http://schemas.openxmlformats.org/officeDocument/2006/relationships/slideLayout" Target="../slideLayouts/slideLayout413.xml"/><Relationship Id="rId49" Type="http://schemas.openxmlformats.org/officeDocument/2006/relationships/slideLayout" Target="../slideLayouts/slideLayout426.xml"/><Relationship Id="rId57" Type="http://schemas.openxmlformats.org/officeDocument/2006/relationships/slideLayout" Target="../slideLayouts/slideLayout434.xml"/><Relationship Id="rId10" Type="http://schemas.openxmlformats.org/officeDocument/2006/relationships/slideLayout" Target="../slideLayouts/slideLayout387.xml"/><Relationship Id="rId31" Type="http://schemas.openxmlformats.org/officeDocument/2006/relationships/slideLayout" Target="../slideLayouts/slideLayout408.xml"/><Relationship Id="rId44" Type="http://schemas.openxmlformats.org/officeDocument/2006/relationships/slideLayout" Target="../slideLayouts/slideLayout421.xml"/><Relationship Id="rId52" Type="http://schemas.openxmlformats.org/officeDocument/2006/relationships/slideLayout" Target="../slideLayouts/slideLayout429.xml"/><Relationship Id="rId60" Type="http://schemas.openxmlformats.org/officeDocument/2006/relationships/slideLayout" Target="../slideLayouts/slideLayout437.xml"/><Relationship Id="rId65" Type="http://schemas.openxmlformats.org/officeDocument/2006/relationships/slideLayout" Target="../slideLayouts/slideLayout442.xml"/><Relationship Id="rId4" Type="http://schemas.openxmlformats.org/officeDocument/2006/relationships/slideLayout" Target="../slideLayouts/slideLayout381.xml"/><Relationship Id="rId9" Type="http://schemas.openxmlformats.org/officeDocument/2006/relationships/slideLayout" Target="../slideLayouts/slideLayout386.xml"/><Relationship Id="rId13" Type="http://schemas.openxmlformats.org/officeDocument/2006/relationships/slideLayout" Target="../slideLayouts/slideLayout390.xml"/><Relationship Id="rId18" Type="http://schemas.openxmlformats.org/officeDocument/2006/relationships/slideLayout" Target="../slideLayouts/slideLayout395.xml"/><Relationship Id="rId39" Type="http://schemas.openxmlformats.org/officeDocument/2006/relationships/slideLayout" Target="../slideLayouts/slideLayout416.xml"/><Relationship Id="rId34" Type="http://schemas.openxmlformats.org/officeDocument/2006/relationships/slideLayout" Target="../slideLayouts/slideLayout411.xml"/><Relationship Id="rId50" Type="http://schemas.openxmlformats.org/officeDocument/2006/relationships/slideLayout" Target="../slideLayouts/slideLayout427.xml"/><Relationship Id="rId55" Type="http://schemas.openxmlformats.org/officeDocument/2006/relationships/slideLayout" Target="../slideLayouts/slideLayout432.xml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8.xml"/><Relationship Id="rId18" Type="http://schemas.openxmlformats.org/officeDocument/2006/relationships/slideLayout" Target="../slideLayouts/slideLayout463.xml"/><Relationship Id="rId26" Type="http://schemas.openxmlformats.org/officeDocument/2006/relationships/slideLayout" Target="../slideLayouts/slideLayout471.xml"/><Relationship Id="rId39" Type="http://schemas.openxmlformats.org/officeDocument/2006/relationships/slideLayout" Target="../slideLayouts/slideLayout484.xml"/><Relationship Id="rId21" Type="http://schemas.openxmlformats.org/officeDocument/2006/relationships/slideLayout" Target="../slideLayouts/slideLayout466.xml"/><Relationship Id="rId34" Type="http://schemas.openxmlformats.org/officeDocument/2006/relationships/slideLayout" Target="../slideLayouts/slideLayout479.xml"/><Relationship Id="rId42" Type="http://schemas.openxmlformats.org/officeDocument/2006/relationships/slideLayout" Target="../slideLayouts/slideLayout487.xml"/><Relationship Id="rId47" Type="http://schemas.openxmlformats.org/officeDocument/2006/relationships/slideLayout" Target="../slideLayouts/slideLayout492.xml"/><Relationship Id="rId50" Type="http://schemas.openxmlformats.org/officeDocument/2006/relationships/slideLayout" Target="../slideLayouts/slideLayout495.xml"/><Relationship Id="rId55" Type="http://schemas.openxmlformats.org/officeDocument/2006/relationships/slideLayout" Target="../slideLayouts/slideLayout500.xml"/><Relationship Id="rId63" Type="http://schemas.openxmlformats.org/officeDocument/2006/relationships/image" Target="../media/image6.gif"/><Relationship Id="rId7" Type="http://schemas.openxmlformats.org/officeDocument/2006/relationships/slideLayout" Target="../slideLayouts/slideLayout452.xml"/><Relationship Id="rId2" Type="http://schemas.openxmlformats.org/officeDocument/2006/relationships/slideLayout" Target="../slideLayouts/slideLayout447.xml"/><Relationship Id="rId16" Type="http://schemas.openxmlformats.org/officeDocument/2006/relationships/slideLayout" Target="../slideLayouts/slideLayout461.xml"/><Relationship Id="rId29" Type="http://schemas.openxmlformats.org/officeDocument/2006/relationships/slideLayout" Target="../slideLayouts/slideLayout474.xml"/><Relationship Id="rId11" Type="http://schemas.openxmlformats.org/officeDocument/2006/relationships/slideLayout" Target="../slideLayouts/slideLayout456.xml"/><Relationship Id="rId24" Type="http://schemas.openxmlformats.org/officeDocument/2006/relationships/slideLayout" Target="../slideLayouts/slideLayout469.xml"/><Relationship Id="rId32" Type="http://schemas.openxmlformats.org/officeDocument/2006/relationships/slideLayout" Target="../slideLayouts/slideLayout477.xml"/><Relationship Id="rId37" Type="http://schemas.openxmlformats.org/officeDocument/2006/relationships/slideLayout" Target="../slideLayouts/slideLayout482.xml"/><Relationship Id="rId40" Type="http://schemas.openxmlformats.org/officeDocument/2006/relationships/slideLayout" Target="../slideLayouts/slideLayout485.xml"/><Relationship Id="rId45" Type="http://schemas.openxmlformats.org/officeDocument/2006/relationships/slideLayout" Target="../slideLayouts/slideLayout490.xml"/><Relationship Id="rId53" Type="http://schemas.openxmlformats.org/officeDocument/2006/relationships/slideLayout" Target="../slideLayouts/slideLayout498.xml"/><Relationship Id="rId58" Type="http://schemas.openxmlformats.org/officeDocument/2006/relationships/slideLayout" Target="../slideLayouts/slideLayout503.xml"/><Relationship Id="rId5" Type="http://schemas.openxmlformats.org/officeDocument/2006/relationships/slideLayout" Target="../slideLayouts/slideLayout450.xml"/><Relationship Id="rId61" Type="http://schemas.openxmlformats.org/officeDocument/2006/relationships/slideLayout" Target="../slideLayouts/slideLayout506.xml"/><Relationship Id="rId19" Type="http://schemas.openxmlformats.org/officeDocument/2006/relationships/slideLayout" Target="../slideLayouts/slideLayout464.xml"/><Relationship Id="rId14" Type="http://schemas.openxmlformats.org/officeDocument/2006/relationships/slideLayout" Target="../slideLayouts/slideLayout459.xml"/><Relationship Id="rId22" Type="http://schemas.openxmlformats.org/officeDocument/2006/relationships/slideLayout" Target="../slideLayouts/slideLayout467.xml"/><Relationship Id="rId27" Type="http://schemas.openxmlformats.org/officeDocument/2006/relationships/slideLayout" Target="../slideLayouts/slideLayout472.xml"/><Relationship Id="rId30" Type="http://schemas.openxmlformats.org/officeDocument/2006/relationships/slideLayout" Target="../slideLayouts/slideLayout475.xml"/><Relationship Id="rId35" Type="http://schemas.openxmlformats.org/officeDocument/2006/relationships/slideLayout" Target="../slideLayouts/slideLayout480.xml"/><Relationship Id="rId43" Type="http://schemas.openxmlformats.org/officeDocument/2006/relationships/slideLayout" Target="../slideLayouts/slideLayout488.xml"/><Relationship Id="rId48" Type="http://schemas.openxmlformats.org/officeDocument/2006/relationships/slideLayout" Target="../slideLayouts/slideLayout493.xml"/><Relationship Id="rId56" Type="http://schemas.openxmlformats.org/officeDocument/2006/relationships/slideLayout" Target="../slideLayouts/slideLayout501.xml"/><Relationship Id="rId8" Type="http://schemas.openxmlformats.org/officeDocument/2006/relationships/slideLayout" Target="../slideLayouts/slideLayout453.xml"/><Relationship Id="rId51" Type="http://schemas.openxmlformats.org/officeDocument/2006/relationships/slideLayout" Target="../slideLayouts/slideLayout496.xml"/><Relationship Id="rId3" Type="http://schemas.openxmlformats.org/officeDocument/2006/relationships/slideLayout" Target="../slideLayouts/slideLayout448.xml"/><Relationship Id="rId12" Type="http://schemas.openxmlformats.org/officeDocument/2006/relationships/slideLayout" Target="../slideLayouts/slideLayout457.xml"/><Relationship Id="rId17" Type="http://schemas.openxmlformats.org/officeDocument/2006/relationships/slideLayout" Target="../slideLayouts/slideLayout462.xml"/><Relationship Id="rId25" Type="http://schemas.openxmlformats.org/officeDocument/2006/relationships/slideLayout" Target="../slideLayouts/slideLayout470.xml"/><Relationship Id="rId33" Type="http://schemas.openxmlformats.org/officeDocument/2006/relationships/slideLayout" Target="../slideLayouts/slideLayout478.xml"/><Relationship Id="rId38" Type="http://schemas.openxmlformats.org/officeDocument/2006/relationships/slideLayout" Target="../slideLayouts/slideLayout483.xml"/><Relationship Id="rId46" Type="http://schemas.openxmlformats.org/officeDocument/2006/relationships/slideLayout" Target="../slideLayouts/slideLayout491.xml"/><Relationship Id="rId59" Type="http://schemas.openxmlformats.org/officeDocument/2006/relationships/slideLayout" Target="../slideLayouts/slideLayout504.xml"/><Relationship Id="rId20" Type="http://schemas.openxmlformats.org/officeDocument/2006/relationships/slideLayout" Target="../slideLayouts/slideLayout465.xml"/><Relationship Id="rId41" Type="http://schemas.openxmlformats.org/officeDocument/2006/relationships/slideLayout" Target="../slideLayouts/slideLayout486.xml"/><Relationship Id="rId54" Type="http://schemas.openxmlformats.org/officeDocument/2006/relationships/slideLayout" Target="../slideLayouts/slideLayout499.xml"/><Relationship Id="rId62" Type="http://schemas.openxmlformats.org/officeDocument/2006/relationships/theme" Target="../theme/theme12.xml"/><Relationship Id="rId1" Type="http://schemas.openxmlformats.org/officeDocument/2006/relationships/slideLayout" Target="../slideLayouts/slideLayout446.xml"/><Relationship Id="rId6" Type="http://schemas.openxmlformats.org/officeDocument/2006/relationships/slideLayout" Target="../slideLayouts/slideLayout451.xml"/><Relationship Id="rId15" Type="http://schemas.openxmlformats.org/officeDocument/2006/relationships/slideLayout" Target="../slideLayouts/slideLayout460.xml"/><Relationship Id="rId23" Type="http://schemas.openxmlformats.org/officeDocument/2006/relationships/slideLayout" Target="../slideLayouts/slideLayout468.xml"/><Relationship Id="rId28" Type="http://schemas.openxmlformats.org/officeDocument/2006/relationships/slideLayout" Target="../slideLayouts/slideLayout473.xml"/><Relationship Id="rId36" Type="http://schemas.openxmlformats.org/officeDocument/2006/relationships/slideLayout" Target="../slideLayouts/slideLayout481.xml"/><Relationship Id="rId49" Type="http://schemas.openxmlformats.org/officeDocument/2006/relationships/slideLayout" Target="../slideLayouts/slideLayout494.xml"/><Relationship Id="rId57" Type="http://schemas.openxmlformats.org/officeDocument/2006/relationships/slideLayout" Target="../slideLayouts/slideLayout502.xml"/><Relationship Id="rId10" Type="http://schemas.openxmlformats.org/officeDocument/2006/relationships/slideLayout" Target="../slideLayouts/slideLayout455.xml"/><Relationship Id="rId31" Type="http://schemas.openxmlformats.org/officeDocument/2006/relationships/slideLayout" Target="../slideLayouts/slideLayout476.xml"/><Relationship Id="rId44" Type="http://schemas.openxmlformats.org/officeDocument/2006/relationships/slideLayout" Target="../slideLayouts/slideLayout489.xml"/><Relationship Id="rId52" Type="http://schemas.openxmlformats.org/officeDocument/2006/relationships/slideLayout" Target="../slideLayouts/slideLayout497.xml"/><Relationship Id="rId60" Type="http://schemas.openxmlformats.org/officeDocument/2006/relationships/slideLayout" Target="../slideLayouts/slideLayout505.xml"/><Relationship Id="rId4" Type="http://schemas.openxmlformats.org/officeDocument/2006/relationships/slideLayout" Target="../slideLayouts/slideLayout449.xml"/><Relationship Id="rId9" Type="http://schemas.openxmlformats.org/officeDocument/2006/relationships/slideLayout" Target="../slideLayouts/slideLayout45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4.xml"/><Relationship Id="rId13" Type="http://schemas.openxmlformats.org/officeDocument/2006/relationships/slideLayout" Target="../slideLayouts/slideLayout519.xml"/><Relationship Id="rId18" Type="http://schemas.openxmlformats.org/officeDocument/2006/relationships/slideLayout" Target="../slideLayouts/slideLayout524.xml"/><Relationship Id="rId3" Type="http://schemas.openxmlformats.org/officeDocument/2006/relationships/slideLayout" Target="../slideLayouts/slideLayout509.xml"/><Relationship Id="rId21" Type="http://schemas.openxmlformats.org/officeDocument/2006/relationships/slideLayout" Target="../slideLayouts/slideLayout527.xml"/><Relationship Id="rId7" Type="http://schemas.openxmlformats.org/officeDocument/2006/relationships/slideLayout" Target="../slideLayouts/slideLayout513.xml"/><Relationship Id="rId12" Type="http://schemas.openxmlformats.org/officeDocument/2006/relationships/slideLayout" Target="../slideLayouts/slideLayout518.xml"/><Relationship Id="rId17" Type="http://schemas.openxmlformats.org/officeDocument/2006/relationships/slideLayout" Target="../slideLayouts/slideLayout523.xml"/><Relationship Id="rId2" Type="http://schemas.openxmlformats.org/officeDocument/2006/relationships/slideLayout" Target="../slideLayouts/slideLayout508.xml"/><Relationship Id="rId16" Type="http://schemas.openxmlformats.org/officeDocument/2006/relationships/slideLayout" Target="../slideLayouts/slideLayout522.xml"/><Relationship Id="rId20" Type="http://schemas.openxmlformats.org/officeDocument/2006/relationships/slideLayout" Target="../slideLayouts/slideLayout526.xml"/><Relationship Id="rId1" Type="http://schemas.openxmlformats.org/officeDocument/2006/relationships/slideLayout" Target="../slideLayouts/slideLayout507.xml"/><Relationship Id="rId6" Type="http://schemas.openxmlformats.org/officeDocument/2006/relationships/slideLayout" Target="../slideLayouts/slideLayout512.xml"/><Relationship Id="rId11" Type="http://schemas.openxmlformats.org/officeDocument/2006/relationships/slideLayout" Target="../slideLayouts/slideLayout517.xml"/><Relationship Id="rId5" Type="http://schemas.openxmlformats.org/officeDocument/2006/relationships/slideLayout" Target="../slideLayouts/slideLayout511.xml"/><Relationship Id="rId15" Type="http://schemas.openxmlformats.org/officeDocument/2006/relationships/slideLayout" Target="../slideLayouts/slideLayout521.xml"/><Relationship Id="rId23" Type="http://schemas.openxmlformats.org/officeDocument/2006/relationships/image" Target="../media/image1.gif"/><Relationship Id="rId10" Type="http://schemas.openxmlformats.org/officeDocument/2006/relationships/slideLayout" Target="../slideLayouts/slideLayout516.xml"/><Relationship Id="rId19" Type="http://schemas.openxmlformats.org/officeDocument/2006/relationships/slideLayout" Target="../slideLayouts/slideLayout525.xml"/><Relationship Id="rId4" Type="http://schemas.openxmlformats.org/officeDocument/2006/relationships/slideLayout" Target="../slideLayouts/slideLayout510.xml"/><Relationship Id="rId9" Type="http://schemas.openxmlformats.org/officeDocument/2006/relationships/slideLayout" Target="../slideLayouts/slideLayout515.xml"/><Relationship Id="rId14" Type="http://schemas.openxmlformats.org/officeDocument/2006/relationships/slideLayout" Target="../slideLayouts/slideLayout520.xml"/><Relationship Id="rId22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53.xml"/><Relationship Id="rId21" Type="http://schemas.openxmlformats.org/officeDocument/2006/relationships/slideLayout" Target="../slideLayouts/slideLayout548.xml"/><Relationship Id="rId34" Type="http://schemas.openxmlformats.org/officeDocument/2006/relationships/slideLayout" Target="../slideLayouts/slideLayout561.xml"/><Relationship Id="rId42" Type="http://schemas.openxmlformats.org/officeDocument/2006/relationships/slideLayout" Target="../slideLayouts/slideLayout569.xml"/><Relationship Id="rId47" Type="http://schemas.openxmlformats.org/officeDocument/2006/relationships/slideLayout" Target="../slideLayouts/slideLayout574.xml"/><Relationship Id="rId50" Type="http://schemas.openxmlformats.org/officeDocument/2006/relationships/slideLayout" Target="../slideLayouts/slideLayout577.xml"/><Relationship Id="rId55" Type="http://schemas.openxmlformats.org/officeDocument/2006/relationships/slideLayout" Target="../slideLayouts/slideLayout582.xml"/><Relationship Id="rId63" Type="http://schemas.openxmlformats.org/officeDocument/2006/relationships/slideLayout" Target="../slideLayouts/slideLayout590.xml"/><Relationship Id="rId7" Type="http://schemas.openxmlformats.org/officeDocument/2006/relationships/slideLayout" Target="../slideLayouts/slideLayout534.xml"/><Relationship Id="rId2" Type="http://schemas.openxmlformats.org/officeDocument/2006/relationships/slideLayout" Target="../slideLayouts/slideLayout529.xml"/><Relationship Id="rId16" Type="http://schemas.openxmlformats.org/officeDocument/2006/relationships/slideLayout" Target="../slideLayouts/slideLayout543.xml"/><Relationship Id="rId29" Type="http://schemas.openxmlformats.org/officeDocument/2006/relationships/slideLayout" Target="../slideLayouts/slideLayout556.xml"/><Relationship Id="rId11" Type="http://schemas.openxmlformats.org/officeDocument/2006/relationships/slideLayout" Target="../slideLayouts/slideLayout538.xml"/><Relationship Id="rId24" Type="http://schemas.openxmlformats.org/officeDocument/2006/relationships/slideLayout" Target="../slideLayouts/slideLayout551.xml"/><Relationship Id="rId32" Type="http://schemas.openxmlformats.org/officeDocument/2006/relationships/slideLayout" Target="../slideLayouts/slideLayout559.xml"/><Relationship Id="rId37" Type="http://schemas.openxmlformats.org/officeDocument/2006/relationships/slideLayout" Target="../slideLayouts/slideLayout564.xml"/><Relationship Id="rId40" Type="http://schemas.openxmlformats.org/officeDocument/2006/relationships/slideLayout" Target="../slideLayouts/slideLayout567.xml"/><Relationship Id="rId45" Type="http://schemas.openxmlformats.org/officeDocument/2006/relationships/slideLayout" Target="../slideLayouts/slideLayout572.xml"/><Relationship Id="rId53" Type="http://schemas.openxmlformats.org/officeDocument/2006/relationships/slideLayout" Target="../slideLayouts/slideLayout580.xml"/><Relationship Id="rId58" Type="http://schemas.openxmlformats.org/officeDocument/2006/relationships/slideLayout" Target="../slideLayouts/slideLayout585.xml"/><Relationship Id="rId66" Type="http://schemas.openxmlformats.org/officeDocument/2006/relationships/image" Target="../media/image9.jpeg"/><Relationship Id="rId5" Type="http://schemas.openxmlformats.org/officeDocument/2006/relationships/slideLayout" Target="../slideLayouts/slideLayout532.xml"/><Relationship Id="rId61" Type="http://schemas.openxmlformats.org/officeDocument/2006/relationships/slideLayout" Target="../slideLayouts/slideLayout588.xml"/><Relationship Id="rId19" Type="http://schemas.openxmlformats.org/officeDocument/2006/relationships/slideLayout" Target="../slideLayouts/slideLayout546.xml"/><Relationship Id="rId14" Type="http://schemas.openxmlformats.org/officeDocument/2006/relationships/slideLayout" Target="../slideLayouts/slideLayout541.xml"/><Relationship Id="rId22" Type="http://schemas.openxmlformats.org/officeDocument/2006/relationships/slideLayout" Target="../slideLayouts/slideLayout549.xml"/><Relationship Id="rId27" Type="http://schemas.openxmlformats.org/officeDocument/2006/relationships/slideLayout" Target="../slideLayouts/slideLayout554.xml"/><Relationship Id="rId30" Type="http://schemas.openxmlformats.org/officeDocument/2006/relationships/slideLayout" Target="../slideLayouts/slideLayout557.xml"/><Relationship Id="rId35" Type="http://schemas.openxmlformats.org/officeDocument/2006/relationships/slideLayout" Target="../slideLayouts/slideLayout562.xml"/><Relationship Id="rId43" Type="http://schemas.openxmlformats.org/officeDocument/2006/relationships/slideLayout" Target="../slideLayouts/slideLayout570.xml"/><Relationship Id="rId48" Type="http://schemas.openxmlformats.org/officeDocument/2006/relationships/slideLayout" Target="../slideLayouts/slideLayout575.xml"/><Relationship Id="rId56" Type="http://schemas.openxmlformats.org/officeDocument/2006/relationships/slideLayout" Target="../slideLayouts/slideLayout583.xml"/><Relationship Id="rId64" Type="http://schemas.openxmlformats.org/officeDocument/2006/relationships/theme" Target="../theme/theme14.xml"/><Relationship Id="rId8" Type="http://schemas.openxmlformats.org/officeDocument/2006/relationships/slideLayout" Target="../slideLayouts/slideLayout535.xml"/><Relationship Id="rId51" Type="http://schemas.openxmlformats.org/officeDocument/2006/relationships/slideLayout" Target="../slideLayouts/slideLayout578.xml"/><Relationship Id="rId3" Type="http://schemas.openxmlformats.org/officeDocument/2006/relationships/slideLayout" Target="../slideLayouts/slideLayout530.xml"/><Relationship Id="rId12" Type="http://schemas.openxmlformats.org/officeDocument/2006/relationships/slideLayout" Target="../slideLayouts/slideLayout539.xml"/><Relationship Id="rId17" Type="http://schemas.openxmlformats.org/officeDocument/2006/relationships/slideLayout" Target="../slideLayouts/slideLayout544.xml"/><Relationship Id="rId25" Type="http://schemas.openxmlformats.org/officeDocument/2006/relationships/slideLayout" Target="../slideLayouts/slideLayout552.xml"/><Relationship Id="rId33" Type="http://schemas.openxmlformats.org/officeDocument/2006/relationships/slideLayout" Target="../slideLayouts/slideLayout560.xml"/><Relationship Id="rId38" Type="http://schemas.openxmlformats.org/officeDocument/2006/relationships/slideLayout" Target="../slideLayouts/slideLayout565.xml"/><Relationship Id="rId46" Type="http://schemas.openxmlformats.org/officeDocument/2006/relationships/slideLayout" Target="../slideLayouts/slideLayout573.xml"/><Relationship Id="rId59" Type="http://schemas.openxmlformats.org/officeDocument/2006/relationships/slideLayout" Target="../slideLayouts/slideLayout586.xml"/><Relationship Id="rId20" Type="http://schemas.openxmlformats.org/officeDocument/2006/relationships/slideLayout" Target="../slideLayouts/slideLayout547.xml"/><Relationship Id="rId41" Type="http://schemas.openxmlformats.org/officeDocument/2006/relationships/slideLayout" Target="../slideLayouts/slideLayout568.xml"/><Relationship Id="rId54" Type="http://schemas.openxmlformats.org/officeDocument/2006/relationships/slideLayout" Target="../slideLayouts/slideLayout581.xml"/><Relationship Id="rId62" Type="http://schemas.openxmlformats.org/officeDocument/2006/relationships/slideLayout" Target="../slideLayouts/slideLayout589.xml"/><Relationship Id="rId1" Type="http://schemas.openxmlformats.org/officeDocument/2006/relationships/slideLayout" Target="../slideLayouts/slideLayout528.xml"/><Relationship Id="rId6" Type="http://schemas.openxmlformats.org/officeDocument/2006/relationships/slideLayout" Target="../slideLayouts/slideLayout533.xml"/><Relationship Id="rId15" Type="http://schemas.openxmlformats.org/officeDocument/2006/relationships/slideLayout" Target="../slideLayouts/slideLayout542.xml"/><Relationship Id="rId23" Type="http://schemas.openxmlformats.org/officeDocument/2006/relationships/slideLayout" Target="../slideLayouts/slideLayout550.xml"/><Relationship Id="rId28" Type="http://schemas.openxmlformats.org/officeDocument/2006/relationships/slideLayout" Target="../slideLayouts/slideLayout555.xml"/><Relationship Id="rId36" Type="http://schemas.openxmlformats.org/officeDocument/2006/relationships/slideLayout" Target="../slideLayouts/slideLayout563.xml"/><Relationship Id="rId49" Type="http://schemas.openxmlformats.org/officeDocument/2006/relationships/slideLayout" Target="../slideLayouts/slideLayout576.xml"/><Relationship Id="rId57" Type="http://schemas.openxmlformats.org/officeDocument/2006/relationships/slideLayout" Target="../slideLayouts/slideLayout584.xml"/><Relationship Id="rId10" Type="http://schemas.openxmlformats.org/officeDocument/2006/relationships/slideLayout" Target="../slideLayouts/slideLayout537.xml"/><Relationship Id="rId31" Type="http://schemas.openxmlformats.org/officeDocument/2006/relationships/slideLayout" Target="../slideLayouts/slideLayout558.xml"/><Relationship Id="rId44" Type="http://schemas.openxmlformats.org/officeDocument/2006/relationships/slideLayout" Target="../slideLayouts/slideLayout571.xml"/><Relationship Id="rId52" Type="http://schemas.openxmlformats.org/officeDocument/2006/relationships/slideLayout" Target="../slideLayouts/slideLayout579.xml"/><Relationship Id="rId60" Type="http://schemas.openxmlformats.org/officeDocument/2006/relationships/slideLayout" Target="../slideLayouts/slideLayout587.xml"/><Relationship Id="rId65" Type="http://schemas.openxmlformats.org/officeDocument/2006/relationships/image" Target="../media/image6.gif"/><Relationship Id="rId4" Type="http://schemas.openxmlformats.org/officeDocument/2006/relationships/slideLayout" Target="../slideLayouts/slideLayout531.xml"/><Relationship Id="rId9" Type="http://schemas.openxmlformats.org/officeDocument/2006/relationships/slideLayout" Target="../slideLayouts/slideLayout536.xml"/><Relationship Id="rId13" Type="http://schemas.openxmlformats.org/officeDocument/2006/relationships/slideLayout" Target="../slideLayouts/slideLayout540.xml"/><Relationship Id="rId18" Type="http://schemas.openxmlformats.org/officeDocument/2006/relationships/slideLayout" Target="../slideLayouts/slideLayout545.xml"/><Relationship Id="rId39" Type="http://schemas.openxmlformats.org/officeDocument/2006/relationships/slideLayout" Target="../slideLayouts/slideLayout566.xml"/></Relationships>
</file>

<file path=ppt/slideMasters/_rels/slideMaster1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616.xml"/><Relationship Id="rId21" Type="http://schemas.openxmlformats.org/officeDocument/2006/relationships/slideLayout" Target="../slideLayouts/slideLayout611.xml"/><Relationship Id="rId42" Type="http://schemas.openxmlformats.org/officeDocument/2006/relationships/slideLayout" Target="../slideLayouts/slideLayout632.xml"/><Relationship Id="rId47" Type="http://schemas.openxmlformats.org/officeDocument/2006/relationships/slideLayout" Target="../slideLayouts/slideLayout637.xml"/><Relationship Id="rId63" Type="http://schemas.openxmlformats.org/officeDocument/2006/relationships/slideLayout" Target="../slideLayouts/slideLayout653.xml"/><Relationship Id="rId68" Type="http://schemas.openxmlformats.org/officeDocument/2006/relationships/theme" Target="../theme/theme15.xml"/><Relationship Id="rId7" Type="http://schemas.openxmlformats.org/officeDocument/2006/relationships/slideLayout" Target="../slideLayouts/slideLayout597.xml"/><Relationship Id="rId2" Type="http://schemas.openxmlformats.org/officeDocument/2006/relationships/slideLayout" Target="../slideLayouts/slideLayout592.xml"/><Relationship Id="rId16" Type="http://schemas.openxmlformats.org/officeDocument/2006/relationships/slideLayout" Target="../slideLayouts/slideLayout606.xml"/><Relationship Id="rId29" Type="http://schemas.openxmlformats.org/officeDocument/2006/relationships/slideLayout" Target="../slideLayouts/slideLayout619.xml"/><Relationship Id="rId11" Type="http://schemas.openxmlformats.org/officeDocument/2006/relationships/slideLayout" Target="../slideLayouts/slideLayout601.xml"/><Relationship Id="rId24" Type="http://schemas.openxmlformats.org/officeDocument/2006/relationships/slideLayout" Target="../slideLayouts/slideLayout614.xml"/><Relationship Id="rId32" Type="http://schemas.openxmlformats.org/officeDocument/2006/relationships/slideLayout" Target="../slideLayouts/slideLayout622.xml"/><Relationship Id="rId37" Type="http://schemas.openxmlformats.org/officeDocument/2006/relationships/slideLayout" Target="../slideLayouts/slideLayout627.xml"/><Relationship Id="rId40" Type="http://schemas.openxmlformats.org/officeDocument/2006/relationships/slideLayout" Target="../slideLayouts/slideLayout630.xml"/><Relationship Id="rId45" Type="http://schemas.openxmlformats.org/officeDocument/2006/relationships/slideLayout" Target="../slideLayouts/slideLayout635.xml"/><Relationship Id="rId53" Type="http://schemas.openxmlformats.org/officeDocument/2006/relationships/slideLayout" Target="../slideLayouts/slideLayout643.xml"/><Relationship Id="rId58" Type="http://schemas.openxmlformats.org/officeDocument/2006/relationships/slideLayout" Target="../slideLayouts/slideLayout648.xml"/><Relationship Id="rId66" Type="http://schemas.openxmlformats.org/officeDocument/2006/relationships/slideLayout" Target="../slideLayouts/slideLayout656.xml"/><Relationship Id="rId5" Type="http://schemas.openxmlformats.org/officeDocument/2006/relationships/slideLayout" Target="../slideLayouts/slideLayout595.xml"/><Relationship Id="rId61" Type="http://schemas.openxmlformats.org/officeDocument/2006/relationships/slideLayout" Target="../slideLayouts/slideLayout651.xml"/><Relationship Id="rId19" Type="http://schemas.openxmlformats.org/officeDocument/2006/relationships/slideLayout" Target="../slideLayouts/slideLayout609.xml"/><Relationship Id="rId14" Type="http://schemas.openxmlformats.org/officeDocument/2006/relationships/slideLayout" Target="../slideLayouts/slideLayout604.xml"/><Relationship Id="rId22" Type="http://schemas.openxmlformats.org/officeDocument/2006/relationships/slideLayout" Target="../slideLayouts/slideLayout612.xml"/><Relationship Id="rId27" Type="http://schemas.openxmlformats.org/officeDocument/2006/relationships/slideLayout" Target="../slideLayouts/slideLayout617.xml"/><Relationship Id="rId30" Type="http://schemas.openxmlformats.org/officeDocument/2006/relationships/slideLayout" Target="../slideLayouts/slideLayout620.xml"/><Relationship Id="rId35" Type="http://schemas.openxmlformats.org/officeDocument/2006/relationships/slideLayout" Target="../slideLayouts/slideLayout625.xml"/><Relationship Id="rId43" Type="http://schemas.openxmlformats.org/officeDocument/2006/relationships/slideLayout" Target="../slideLayouts/slideLayout633.xml"/><Relationship Id="rId48" Type="http://schemas.openxmlformats.org/officeDocument/2006/relationships/slideLayout" Target="../slideLayouts/slideLayout638.xml"/><Relationship Id="rId56" Type="http://schemas.openxmlformats.org/officeDocument/2006/relationships/slideLayout" Target="../slideLayouts/slideLayout646.xml"/><Relationship Id="rId64" Type="http://schemas.openxmlformats.org/officeDocument/2006/relationships/slideLayout" Target="../slideLayouts/slideLayout654.xml"/><Relationship Id="rId69" Type="http://schemas.openxmlformats.org/officeDocument/2006/relationships/image" Target="../media/image6.gif"/><Relationship Id="rId8" Type="http://schemas.openxmlformats.org/officeDocument/2006/relationships/slideLayout" Target="../slideLayouts/slideLayout598.xml"/><Relationship Id="rId51" Type="http://schemas.openxmlformats.org/officeDocument/2006/relationships/slideLayout" Target="../slideLayouts/slideLayout641.xml"/><Relationship Id="rId3" Type="http://schemas.openxmlformats.org/officeDocument/2006/relationships/slideLayout" Target="../slideLayouts/slideLayout593.xml"/><Relationship Id="rId12" Type="http://schemas.openxmlformats.org/officeDocument/2006/relationships/slideLayout" Target="../slideLayouts/slideLayout602.xml"/><Relationship Id="rId17" Type="http://schemas.openxmlformats.org/officeDocument/2006/relationships/slideLayout" Target="../slideLayouts/slideLayout607.xml"/><Relationship Id="rId25" Type="http://schemas.openxmlformats.org/officeDocument/2006/relationships/slideLayout" Target="../slideLayouts/slideLayout615.xml"/><Relationship Id="rId33" Type="http://schemas.openxmlformats.org/officeDocument/2006/relationships/slideLayout" Target="../slideLayouts/slideLayout623.xml"/><Relationship Id="rId38" Type="http://schemas.openxmlformats.org/officeDocument/2006/relationships/slideLayout" Target="../slideLayouts/slideLayout628.xml"/><Relationship Id="rId46" Type="http://schemas.openxmlformats.org/officeDocument/2006/relationships/slideLayout" Target="../slideLayouts/slideLayout636.xml"/><Relationship Id="rId59" Type="http://schemas.openxmlformats.org/officeDocument/2006/relationships/slideLayout" Target="../slideLayouts/slideLayout649.xml"/><Relationship Id="rId67" Type="http://schemas.openxmlformats.org/officeDocument/2006/relationships/slideLayout" Target="../slideLayouts/slideLayout657.xml"/><Relationship Id="rId20" Type="http://schemas.openxmlformats.org/officeDocument/2006/relationships/slideLayout" Target="../slideLayouts/slideLayout610.xml"/><Relationship Id="rId41" Type="http://schemas.openxmlformats.org/officeDocument/2006/relationships/slideLayout" Target="../slideLayouts/slideLayout631.xml"/><Relationship Id="rId54" Type="http://schemas.openxmlformats.org/officeDocument/2006/relationships/slideLayout" Target="../slideLayouts/slideLayout644.xml"/><Relationship Id="rId62" Type="http://schemas.openxmlformats.org/officeDocument/2006/relationships/slideLayout" Target="../slideLayouts/slideLayout652.xml"/><Relationship Id="rId70" Type="http://schemas.openxmlformats.org/officeDocument/2006/relationships/image" Target="../media/image9.jpeg"/><Relationship Id="rId1" Type="http://schemas.openxmlformats.org/officeDocument/2006/relationships/slideLayout" Target="../slideLayouts/slideLayout591.xml"/><Relationship Id="rId6" Type="http://schemas.openxmlformats.org/officeDocument/2006/relationships/slideLayout" Target="../slideLayouts/slideLayout596.xml"/><Relationship Id="rId15" Type="http://schemas.openxmlformats.org/officeDocument/2006/relationships/slideLayout" Target="../slideLayouts/slideLayout605.xml"/><Relationship Id="rId23" Type="http://schemas.openxmlformats.org/officeDocument/2006/relationships/slideLayout" Target="../slideLayouts/slideLayout613.xml"/><Relationship Id="rId28" Type="http://schemas.openxmlformats.org/officeDocument/2006/relationships/slideLayout" Target="../slideLayouts/slideLayout618.xml"/><Relationship Id="rId36" Type="http://schemas.openxmlformats.org/officeDocument/2006/relationships/slideLayout" Target="../slideLayouts/slideLayout626.xml"/><Relationship Id="rId49" Type="http://schemas.openxmlformats.org/officeDocument/2006/relationships/slideLayout" Target="../slideLayouts/slideLayout639.xml"/><Relationship Id="rId57" Type="http://schemas.openxmlformats.org/officeDocument/2006/relationships/slideLayout" Target="../slideLayouts/slideLayout647.xml"/><Relationship Id="rId10" Type="http://schemas.openxmlformats.org/officeDocument/2006/relationships/slideLayout" Target="../slideLayouts/slideLayout600.xml"/><Relationship Id="rId31" Type="http://schemas.openxmlformats.org/officeDocument/2006/relationships/slideLayout" Target="../slideLayouts/slideLayout621.xml"/><Relationship Id="rId44" Type="http://schemas.openxmlformats.org/officeDocument/2006/relationships/slideLayout" Target="../slideLayouts/slideLayout634.xml"/><Relationship Id="rId52" Type="http://schemas.openxmlformats.org/officeDocument/2006/relationships/slideLayout" Target="../slideLayouts/slideLayout642.xml"/><Relationship Id="rId60" Type="http://schemas.openxmlformats.org/officeDocument/2006/relationships/slideLayout" Target="../slideLayouts/slideLayout650.xml"/><Relationship Id="rId65" Type="http://schemas.openxmlformats.org/officeDocument/2006/relationships/slideLayout" Target="../slideLayouts/slideLayout655.xml"/><Relationship Id="rId4" Type="http://schemas.openxmlformats.org/officeDocument/2006/relationships/slideLayout" Target="../slideLayouts/slideLayout594.xml"/><Relationship Id="rId9" Type="http://schemas.openxmlformats.org/officeDocument/2006/relationships/slideLayout" Target="../slideLayouts/slideLayout599.xml"/><Relationship Id="rId13" Type="http://schemas.openxmlformats.org/officeDocument/2006/relationships/slideLayout" Target="../slideLayouts/slideLayout603.xml"/><Relationship Id="rId18" Type="http://schemas.openxmlformats.org/officeDocument/2006/relationships/slideLayout" Target="../slideLayouts/slideLayout608.xml"/><Relationship Id="rId39" Type="http://schemas.openxmlformats.org/officeDocument/2006/relationships/slideLayout" Target="../slideLayouts/slideLayout629.xml"/><Relationship Id="rId34" Type="http://schemas.openxmlformats.org/officeDocument/2006/relationships/slideLayout" Target="../slideLayouts/slideLayout624.xml"/><Relationship Id="rId50" Type="http://schemas.openxmlformats.org/officeDocument/2006/relationships/slideLayout" Target="../slideLayouts/slideLayout640.xml"/><Relationship Id="rId55" Type="http://schemas.openxmlformats.org/officeDocument/2006/relationships/slideLayout" Target="../slideLayouts/slideLayout64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5.xml"/><Relationship Id="rId13" Type="http://schemas.openxmlformats.org/officeDocument/2006/relationships/slideLayout" Target="../slideLayouts/slideLayout670.xml"/><Relationship Id="rId18" Type="http://schemas.openxmlformats.org/officeDocument/2006/relationships/slideLayout" Target="../slideLayouts/slideLayout675.xml"/><Relationship Id="rId3" Type="http://schemas.openxmlformats.org/officeDocument/2006/relationships/slideLayout" Target="../slideLayouts/slideLayout660.xml"/><Relationship Id="rId21" Type="http://schemas.openxmlformats.org/officeDocument/2006/relationships/slideLayout" Target="../slideLayouts/slideLayout678.xml"/><Relationship Id="rId7" Type="http://schemas.openxmlformats.org/officeDocument/2006/relationships/slideLayout" Target="../slideLayouts/slideLayout664.xml"/><Relationship Id="rId12" Type="http://schemas.openxmlformats.org/officeDocument/2006/relationships/slideLayout" Target="../slideLayouts/slideLayout669.xml"/><Relationship Id="rId17" Type="http://schemas.openxmlformats.org/officeDocument/2006/relationships/slideLayout" Target="../slideLayouts/slideLayout674.xml"/><Relationship Id="rId2" Type="http://schemas.openxmlformats.org/officeDocument/2006/relationships/slideLayout" Target="../slideLayouts/slideLayout659.xml"/><Relationship Id="rId16" Type="http://schemas.openxmlformats.org/officeDocument/2006/relationships/slideLayout" Target="../slideLayouts/slideLayout673.xml"/><Relationship Id="rId20" Type="http://schemas.openxmlformats.org/officeDocument/2006/relationships/slideLayout" Target="../slideLayouts/slideLayout677.xml"/><Relationship Id="rId1" Type="http://schemas.openxmlformats.org/officeDocument/2006/relationships/slideLayout" Target="../slideLayouts/slideLayout658.xml"/><Relationship Id="rId6" Type="http://schemas.openxmlformats.org/officeDocument/2006/relationships/slideLayout" Target="../slideLayouts/slideLayout663.xml"/><Relationship Id="rId11" Type="http://schemas.openxmlformats.org/officeDocument/2006/relationships/slideLayout" Target="../slideLayouts/slideLayout668.xml"/><Relationship Id="rId24" Type="http://schemas.openxmlformats.org/officeDocument/2006/relationships/image" Target="../media/image1.gif"/><Relationship Id="rId5" Type="http://schemas.openxmlformats.org/officeDocument/2006/relationships/slideLayout" Target="../slideLayouts/slideLayout662.xml"/><Relationship Id="rId15" Type="http://schemas.openxmlformats.org/officeDocument/2006/relationships/slideLayout" Target="../slideLayouts/slideLayout672.xml"/><Relationship Id="rId23" Type="http://schemas.openxmlformats.org/officeDocument/2006/relationships/theme" Target="../theme/theme16.xml"/><Relationship Id="rId10" Type="http://schemas.openxmlformats.org/officeDocument/2006/relationships/slideLayout" Target="../slideLayouts/slideLayout667.xml"/><Relationship Id="rId19" Type="http://schemas.openxmlformats.org/officeDocument/2006/relationships/slideLayout" Target="../slideLayouts/slideLayout676.xml"/><Relationship Id="rId4" Type="http://schemas.openxmlformats.org/officeDocument/2006/relationships/slideLayout" Target="../slideLayouts/slideLayout661.xml"/><Relationship Id="rId9" Type="http://schemas.openxmlformats.org/officeDocument/2006/relationships/slideLayout" Target="../slideLayouts/slideLayout666.xml"/><Relationship Id="rId14" Type="http://schemas.openxmlformats.org/officeDocument/2006/relationships/slideLayout" Target="../slideLayouts/slideLayout671.xml"/><Relationship Id="rId22" Type="http://schemas.openxmlformats.org/officeDocument/2006/relationships/slideLayout" Target="../slideLayouts/slideLayout679.xml"/></Relationships>
</file>

<file path=ppt/slideMasters/_rels/slideMaster17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705.xml"/><Relationship Id="rId21" Type="http://schemas.openxmlformats.org/officeDocument/2006/relationships/slideLayout" Target="../slideLayouts/slideLayout700.xml"/><Relationship Id="rId42" Type="http://schemas.openxmlformats.org/officeDocument/2006/relationships/slideLayout" Target="../slideLayouts/slideLayout721.xml"/><Relationship Id="rId47" Type="http://schemas.openxmlformats.org/officeDocument/2006/relationships/slideLayout" Target="../slideLayouts/slideLayout726.xml"/><Relationship Id="rId63" Type="http://schemas.openxmlformats.org/officeDocument/2006/relationships/slideLayout" Target="../slideLayouts/slideLayout742.xml"/><Relationship Id="rId68" Type="http://schemas.openxmlformats.org/officeDocument/2006/relationships/slideLayout" Target="../slideLayouts/slideLayout747.xml"/><Relationship Id="rId7" Type="http://schemas.openxmlformats.org/officeDocument/2006/relationships/slideLayout" Target="../slideLayouts/slideLayout686.xml"/><Relationship Id="rId71" Type="http://schemas.openxmlformats.org/officeDocument/2006/relationships/image" Target="../media/image6.gif"/><Relationship Id="rId2" Type="http://schemas.openxmlformats.org/officeDocument/2006/relationships/slideLayout" Target="../slideLayouts/slideLayout681.xml"/><Relationship Id="rId16" Type="http://schemas.openxmlformats.org/officeDocument/2006/relationships/slideLayout" Target="../slideLayouts/slideLayout695.xml"/><Relationship Id="rId29" Type="http://schemas.openxmlformats.org/officeDocument/2006/relationships/slideLayout" Target="../slideLayouts/slideLayout708.xml"/><Relationship Id="rId11" Type="http://schemas.openxmlformats.org/officeDocument/2006/relationships/slideLayout" Target="../slideLayouts/slideLayout690.xml"/><Relationship Id="rId24" Type="http://schemas.openxmlformats.org/officeDocument/2006/relationships/slideLayout" Target="../slideLayouts/slideLayout703.xml"/><Relationship Id="rId32" Type="http://schemas.openxmlformats.org/officeDocument/2006/relationships/slideLayout" Target="../slideLayouts/slideLayout711.xml"/><Relationship Id="rId37" Type="http://schemas.openxmlformats.org/officeDocument/2006/relationships/slideLayout" Target="../slideLayouts/slideLayout716.xml"/><Relationship Id="rId40" Type="http://schemas.openxmlformats.org/officeDocument/2006/relationships/slideLayout" Target="../slideLayouts/slideLayout719.xml"/><Relationship Id="rId45" Type="http://schemas.openxmlformats.org/officeDocument/2006/relationships/slideLayout" Target="../slideLayouts/slideLayout724.xml"/><Relationship Id="rId53" Type="http://schemas.openxmlformats.org/officeDocument/2006/relationships/slideLayout" Target="../slideLayouts/slideLayout732.xml"/><Relationship Id="rId58" Type="http://schemas.openxmlformats.org/officeDocument/2006/relationships/slideLayout" Target="../slideLayouts/slideLayout737.xml"/><Relationship Id="rId66" Type="http://schemas.openxmlformats.org/officeDocument/2006/relationships/slideLayout" Target="../slideLayouts/slideLayout745.xml"/><Relationship Id="rId5" Type="http://schemas.openxmlformats.org/officeDocument/2006/relationships/slideLayout" Target="../slideLayouts/slideLayout684.xml"/><Relationship Id="rId61" Type="http://schemas.openxmlformats.org/officeDocument/2006/relationships/slideLayout" Target="../slideLayouts/slideLayout740.xml"/><Relationship Id="rId19" Type="http://schemas.openxmlformats.org/officeDocument/2006/relationships/slideLayout" Target="../slideLayouts/slideLayout698.xml"/><Relationship Id="rId14" Type="http://schemas.openxmlformats.org/officeDocument/2006/relationships/slideLayout" Target="../slideLayouts/slideLayout693.xml"/><Relationship Id="rId22" Type="http://schemas.openxmlformats.org/officeDocument/2006/relationships/slideLayout" Target="../slideLayouts/slideLayout701.xml"/><Relationship Id="rId27" Type="http://schemas.openxmlformats.org/officeDocument/2006/relationships/slideLayout" Target="../slideLayouts/slideLayout706.xml"/><Relationship Id="rId30" Type="http://schemas.openxmlformats.org/officeDocument/2006/relationships/slideLayout" Target="../slideLayouts/slideLayout709.xml"/><Relationship Id="rId35" Type="http://schemas.openxmlformats.org/officeDocument/2006/relationships/slideLayout" Target="../slideLayouts/slideLayout714.xml"/><Relationship Id="rId43" Type="http://schemas.openxmlformats.org/officeDocument/2006/relationships/slideLayout" Target="../slideLayouts/slideLayout722.xml"/><Relationship Id="rId48" Type="http://schemas.openxmlformats.org/officeDocument/2006/relationships/slideLayout" Target="../slideLayouts/slideLayout727.xml"/><Relationship Id="rId56" Type="http://schemas.openxmlformats.org/officeDocument/2006/relationships/slideLayout" Target="../slideLayouts/slideLayout735.xml"/><Relationship Id="rId64" Type="http://schemas.openxmlformats.org/officeDocument/2006/relationships/slideLayout" Target="../slideLayouts/slideLayout743.xml"/><Relationship Id="rId69" Type="http://schemas.openxmlformats.org/officeDocument/2006/relationships/slideLayout" Target="../slideLayouts/slideLayout748.xml"/><Relationship Id="rId8" Type="http://schemas.openxmlformats.org/officeDocument/2006/relationships/slideLayout" Target="../slideLayouts/slideLayout687.xml"/><Relationship Id="rId51" Type="http://schemas.openxmlformats.org/officeDocument/2006/relationships/slideLayout" Target="../slideLayouts/slideLayout730.xml"/><Relationship Id="rId72" Type="http://schemas.openxmlformats.org/officeDocument/2006/relationships/image" Target="../media/image9.jpeg"/><Relationship Id="rId3" Type="http://schemas.openxmlformats.org/officeDocument/2006/relationships/slideLayout" Target="../slideLayouts/slideLayout682.xml"/><Relationship Id="rId12" Type="http://schemas.openxmlformats.org/officeDocument/2006/relationships/slideLayout" Target="../slideLayouts/slideLayout691.xml"/><Relationship Id="rId17" Type="http://schemas.openxmlformats.org/officeDocument/2006/relationships/slideLayout" Target="../slideLayouts/slideLayout696.xml"/><Relationship Id="rId25" Type="http://schemas.openxmlformats.org/officeDocument/2006/relationships/slideLayout" Target="../slideLayouts/slideLayout704.xml"/><Relationship Id="rId33" Type="http://schemas.openxmlformats.org/officeDocument/2006/relationships/slideLayout" Target="../slideLayouts/slideLayout712.xml"/><Relationship Id="rId38" Type="http://schemas.openxmlformats.org/officeDocument/2006/relationships/slideLayout" Target="../slideLayouts/slideLayout717.xml"/><Relationship Id="rId46" Type="http://schemas.openxmlformats.org/officeDocument/2006/relationships/slideLayout" Target="../slideLayouts/slideLayout725.xml"/><Relationship Id="rId59" Type="http://schemas.openxmlformats.org/officeDocument/2006/relationships/slideLayout" Target="../slideLayouts/slideLayout738.xml"/><Relationship Id="rId67" Type="http://schemas.openxmlformats.org/officeDocument/2006/relationships/slideLayout" Target="../slideLayouts/slideLayout746.xml"/><Relationship Id="rId20" Type="http://schemas.openxmlformats.org/officeDocument/2006/relationships/slideLayout" Target="../slideLayouts/slideLayout699.xml"/><Relationship Id="rId41" Type="http://schemas.openxmlformats.org/officeDocument/2006/relationships/slideLayout" Target="../slideLayouts/slideLayout720.xml"/><Relationship Id="rId54" Type="http://schemas.openxmlformats.org/officeDocument/2006/relationships/slideLayout" Target="../slideLayouts/slideLayout733.xml"/><Relationship Id="rId62" Type="http://schemas.openxmlformats.org/officeDocument/2006/relationships/slideLayout" Target="../slideLayouts/slideLayout741.xml"/><Relationship Id="rId70" Type="http://schemas.openxmlformats.org/officeDocument/2006/relationships/theme" Target="../theme/theme17.xml"/><Relationship Id="rId1" Type="http://schemas.openxmlformats.org/officeDocument/2006/relationships/slideLayout" Target="../slideLayouts/slideLayout680.xml"/><Relationship Id="rId6" Type="http://schemas.openxmlformats.org/officeDocument/2006/relationships/slideLayout" Target="../slideLayouts/slideLayout685.xml"/><Relationship Id="rId15" Type="http://schemas.openxmlformats.org/officeDocument/2006/relationships/slideLayout" Target="../slideLayouts/slideLayout694.xml"/><Relationship Id="rId23" Type="http://schemas.openxmlformats.org/officeDocument/2006/relationships/slideLayout" Target="../slideLayouts/slideLayout702.xml"/><Relationship Id="rId28" Type="http://schemas.openxmlformats.org/officeDocument/2006/relationships/slideLayout" Target="../slideLayouts/slideLayout707.xml"/><Relationship Id="rId36" Type="http://schemas.openxmlformats.org/officeDocument/2006/relationships/slideLayout" Target="../slideLayouts/slideLayout715.xml"/><Relationship Id="rId49" Type="http://schemas.openxmlformats.org/officeDocument/2006/relationships/slideLayout" Target="../slideLayouts/slideLayout728.xml"/><Relationship Id="rId57" Type="http://schemas.openxmlformats.org/officeDocument/2006/relationships/slideLayout" Target="../slideLayouts/slideLayout736.xml"/><Relationship Id="rId10" Type="http://schemas.openxmlformats.org/officeDocument/2006/relationships/slideLayout" Target="../slideLayouts/slideLayout689.xml"/><Relationship Id="rId31" Type="http://schemas.openxmlformats.org/officeDocument/2006/relationships/slideLayout" Target="../slideLayouts/slideLayout710.xml"/><Relationship Id="rId44" Type="http://schemas.openxmlformats.org/officeDocument/2006/relationships/slideLayout" Target="../slideLayouts/slideLayout723.xml"/><Relationship Id="rId52" Type="http://schemas.openxmlformats.org/officeDocument/2006/relationships/slideLayout" Target="../slideLayouts/slideLayout731.xml"/><Relationship Id="rId60" Type="http://schemas.openxmlformats.org/officeDocument/2006/relationships/slideLayout" Target="../slideLayouts/slideLayout739.xml"/><Relationship Id="rId65" Type="http://schemas.openxmlformats.org/officeDocument/2006/relationships/slideLayout" Target="../slideLayouts/slideLayout744.xml"/><Relationship Id="rId4" Type="http://schemas.openxmlformats.org/officeDocument/2006/relationships/slideLayout" Target="../slideLayouts/slideLayout683.xml"/><Relationship Id="rId9" Type="http://schemas.openxmlformats.org/officeDocument/2006/relationships/slideLayout" Target="../slideLayouts/slideLayout688.xml"/><Relationship Id="rId13" Type="http://schemas.openxmlformats.org/officeDocument/2006/relationships/slideLayout" Target="../slideLayouts/slideLayout692.xml"/><Relationship Id="rId18" Type="http://schemas.openxmlformats.org/officeDocument/2006/relationships/slideLayout" Target="../slideLayouts/slideLayout697.xml"/><Relationship Id="rId39" Type="http://schemas.openxmlformats.org/officeDocument/2006/relationships/slideLayout" Target="../slideLayouts/slideLayout718.xml"/><Relationship Id="rId34" Type="http://schemas.openxmlformats.org/officeDocument/2006/relationships/slideLayout" Target="../slideLayouts/slideLayout713.xml"/><Relationship Id="rId50" Type="http://schemas.openxmlformats.org/officeDocument/2006/relationships/slideLayout" Target="../slideLayouts/slideLayout729.xml"/><Relationship Id="rId55" Type="http://schemas.openxmlformats.org/officeDocument/2006/relationships/slideLayout" Target="../slideLayouts/slideLayout734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6.xml"/><Relationship Id="rId13" Type="http://schemas.openxmlformats.org/officeDocument/2006/relationships/slideLayout" Target="../slideLayouts/slideLayout761.xml"/><Relationship Id="rId18" Type="http://schemas.openxmlformats.org/officeDocument/2006/relationships/slideLayout" Target="../slideLayouts/slideLayout766.xml"/><Relationship Id="rId3" Type="http://schemas.openxmlformats.org/officeDocument/2006/relationships/slideLayout" Target="../slideLayouts/slideLayout751.xml"/><Relationship Id="rId21" Type="http://schemas.openxmlformats.org/officeDocument/2006/relationships/slideLayout" Target="../slideLayouts/slideLayout769.xml"/><Relationship Id="rId7" Type="http://schemas.openxmlformats.org/officeDocument/2006/relationships/slideLayout" Target="../slideLayouts/slideLayout755.xml"/><Relationship Id="rId12" Type="http://schemas.openxmlformats.org/officeDocument/2006/relationships/slideLayout" Target="../slideLayouts/slideLayout760.xml"/><Relationship Id="rId17" Type="http://schemas.openxmlformats.org/officeDocument/2006/relationships/slideLayout" Target="../slideLayouts/slideLayout765.xml"/><Relationship Id="rId25" Type="http://schemas.openxmlformats.org/officeDocument/2006/relationships/image" Target="../media/image1.gif"/><Relationship Id="rId2" Type="http://schemas.openxmlformats.org/officeDocument/2006/relationships/slideLayout" Target="../slideLayouts/slideLayout750.xml"/><Relationship Id="rId16" Type="http://schemas.openxmlformats.org/officeDocument/2006/relationships/slideLayout" Target="../slideLayouts/slideLayout764.xml"/><Relationship Id="rId20" Type="http://schemas.openxmlformats.org/officeDocument/2006/relationships/slideLayout" Target="../slideLayouts/slideLayout768.xml"/><Relationship Id="rId1" Type="http://schemas.openxmlformats.org/officeDocument/2006/relationships/slideLayout" Target="../slideLayouts/slideLayout749.xml"/><Relationship Id="rId6" Type="http://schemas.openxmlformats.org/officeDocument/2006/relationships/slideLayout" Target="../slideLayouts/slideLayout754.xml"/><Relationship Id="rId11" Type="http://schemas.openxmlformats.org/officeDocument/2006/relationships/slideLayout" Target="../slideLayouts/slideLayout759.xml"/><Relationship Id="rId24" Type="http://schemas.openxmlformats.org/officeDocument/2006/relationships/theme" Target="../theme/theme18.xml"/><Relationship Id="rId5" Type="http://schemas.openxmlformats.org/officeDocument/2006/relationships/slideLayout" Target="../slideLayouts/slideLayout753.xml"/><Relationship Id="rId15" Type="http://schemas.openxmlformats.org/officeDocument/2006/relationships/slideLayout" Target="../slideLayouts/slideLayout763.xml"/><Relationship Id="rId23" Type="http://schemas.openxmlformats.org/officeDocument/2006/relationships/slideLayout" Target="../slideLayouts/slideLayout771.xml"/><Relationship Id="rId10" Type="http://schemas.openxmlformats.org/officeDocument/2006/relationships/slideLayout" Target="../slideLayouts/slideLayout758.xml"/><Relationship Id="rId19" Type="http://schemas.openxmlformats.org/officeDocument/2006/relationships/slideLayout" Target="../slideLayouts/slideLayout767.xml"/><Relationship Id="rId4" Type="http://schemas.openxmlformats.org/officeDocument/2006/relationships/slideLayout" Target="../slideLayouts/slideLayout752.xml"/><Relationship Id="rId9" Type="http://schemas.openxmlformats.org/officeDocument/2006/relationships/slideLayout" Target="../slideLayouts/slideLayout757.xml"/><Relationship Id="rId14" Type="http://schemas.openxmlformats.org/officeDocument/2006/relationships/slideLayout" Target="../slideLayouts/slideLayout762.xml"/><Relationship Id="rId22" Type="http://schemas.openxmlformats.org/officeDocument/2006/relationships/slideLayout" Target="../slideLayouts/slideLayout770.xml"/></Relationships>
</file>

<file path=ppt/slideMasters/_rels/slideMaster19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797.xml"/><Relationship Id="rId21" Type="http://schemas.openxmlformats.org/officeDocument/2006/relationships/slideLayout" Target="../slideLayouts/slideLayout792.xml"/><Relationship Id="rId42" Type="http://schemas.openxmlformats.org/officeDocument/2006/relationships/slideLayout" Target="../slideLayouts/slideLayout813.xml"/><Relationship Id="rId47" Type="http://schemas.openxmlformats.org/officeDocument/2006/relationships/slideLayout" Target="../slideLayouts/slideLayout818.xml"/><Relationship Id="rId63" Type="http://schemas.openxmlformats.org/officeDocument/2006/relationships/slideLayout" Target="../slideLayouts/slideLayout834.xml"/><Relationship Id="rId68" Type="http://schemas.openxmlformats.org/officeDocument/2006/relationships/theme" Target="../theme/theme19.xml"/><Relationship Id="rId7" Type="http://schemas.openxmlformats.org/officeDocument/2006/relationships/slideLayout" Target="../slideLayouts/slideLayout778.xml"/><Relationship Id="rId2" Type="http://schemas.openxmlformats.org/officeDocument/2006/relationships/slideLayout" Target="../slideLayouts/slideLayout773.xml"/><Relationship Id="rId16" Type="http://schemas.openxmlformats.org/officeDocument/2006/relationships/slideLayout" Target="../slideLayouts/slideLayout787.xml"/><Relationship Id="rId29" Type="http://schemas.openxmlformats.org/officeDocument/2006/relationships/slideLayout" Target="../slideLayouts/slideLayout800.xml"/><Relationship Id="rId11" Type="http://schemas.openxmlformats.org/officeDocument/2006/relationships/slideLayout" Target="../slideLayouts/slideLayout782.xml"/><Relationship Id="rId24" Type="http://schemas.openxmlformats.org/officeDocument/2006/relationships/slideLayout" Target="../slideLayouts/slideLayout795.xml"/><Relationship Id="rId32" Type="http://schemas.openxmlformats.org/officeDocument/2006/relationships/slideLayout" Target="../slideLayouts/slideLayout803.xml"/><Relationship Id="rId37" Type="http://schemas.openxmlformats.org/officeDocument/2006/relationships/slideLayout" Target="../slideLayouts/slideLayout808.xml"/><Relationship Id="rId40" Type="http://schemas.openxmlformats.org/officeDocument/2006/relationships/slideLayout" Target="../slideLayouts/slideLayout811.xml"/><Relationship Id="rId45" Type="http://schemas.openxmlformats.org/officeDocument/2006/relationships/slideLayout" Target="../slideLayouts/slideLayout816.xml"/><Relationship Id="rId53" Type="http://schemas.openxmlformats.org/officeDocument/2006/relationships/slideLayout" Target="../slideLayouts/slideLayout824.xml"/><Relationship Id="rId58" Type="http://schemas.openxmlformats.org/officeDocument/2006/relationships/slideLayout" Target="../slideLayouts/slideLayout829.xml"/><Relationship Id="rId66" Type="http://schemas.openxmlformats.org/officeDocument/2006/relationships/slideLayout" Target="../slideLayouts/slideLayout837.xml"/><Relationship Id="rId5" Type="http://schemas.openxmlformats.org/officeDocument/2006/relationships/slideLayout" Target="../slideLayouts/slideLayout776.xml"/><Relationship Id="rId61" Type="http://schemas.openxmlformats.org/officeDocument/2006/relationships/slideLayout" Target="../slideLayouts/slideLayout832.xml"/><Relationship Id="rId19" Type="http://schemas.openxmlformats.org/officeDocument/2006/relationships/slideLayout" Target="../slideLayouts/slideLayout790.xml"/><Relationship Id="rId14" Type="http://schemas.openxmlformats.org/officeDocument/2006/relationships/slideLayout" Target="../slideLayouts/slideLayout785.xml"/><Relationship Id="rId22" Type="http://schemas.openxmlformats.org/officeDocument/2006/relationships/slideLayout" Target="../slideLayouts/slideLayout793.xml"/><Relationship Id="rId27" Type="http://schemas.openxmlformats.org/officeDocument/2006/relationships/slideLayout" Target="../slideLayouts/slideLayout798.xml"/><Relationship Id="rId30" Type="http://schemas.openxmlformats.org/officeDocument/2006/relationships/slideLayout" Target="../slideLayouts/slideLayout801.xml"/><Relationship Id="rId35" Type="http://schemas.openxmlformats.org/officeDocument/2006/relationships/slideLayout" Target="../slideLayouts/slideLayout806.xml"/><Relationship Id="rId43" Type="http://schemas.openxmlformats.org/officeDocument/2006/relationships/slideLayout" Target="../slideLayouts/slideLayout814.xml"/><Relationship Id="rId48" Type="http://schemas.openxmlformats.org/officeDocument/2006/relationships/slideLayout" Target="../slideLayouts/slideLayout819.xml"/><Relationship Id="rId56" Type="http://schemas.openxmlformats.org/officeDocument/2006/relationships/slideLayout" Target="../slideLayouts/slideLayout827.xml"/><Relationship Id="rId64" Type="http://schemas.openxmlformats.org/officeDocument/2006/relationships/slideLayout" Target="../slideLayouts/slideLayout835.xml"/><Relationship Id="rId69" Type="http://schemas.openxmlformats.org/officeDocument/2006/relationships/image" Target="../media/image6.gif"/><Relationship Id="rId8" Type="http://schemas.openxmlformats.org/officeDocument/2006/relationships/slideLayout" Target="../slideLayouts/slideLayout779.xml"/><Relationship Id="rId51" Type="http://schemas.openxmlformats.org/officeDocument/2006/relationships/slideLayout" Target="../slideLayouts/slideLayout822.xml"/><Relationship Id="rId3" Type="http://schemas.openxmlformats.org/officeDocument/2006/relationships/slideLayout" Target="../slideLayouts/slideLayout774.xml"/><Relationship Id="rId12" Type="http://schemas.openxmlformats.org/officeDocument/2006/relationships/slideLayout" Target="../slideLayouts/slideLayout783.xml"/><Relationship Id="rId17" Type="http://schemas.openxmlformats.org/officeDocument/2006/relationships/slideLayout" Target="../slideLayouts/slideLayout788.xml"/><Relationship Id="rId25" Type="http://schemas.openxmlformats.org/officeDocument/2006/relationships/slideLayout" Target="../slideLayouts/slideLayout796.xml"/><Relationship Id="rId33" Type="http://schemas.openxmlformats.org/officeDocument/2006/relationships/slideLayout" Target="../slideLayouts/slideLayout804.xml"/><Relationship Id="rId38" Type="http://schemas.openxmlformats.org/officeDocument/2006/relationships/slideLayout" Target="../slideLayouts/slideLayout809.xml"/><Relationship Id="rId46" Type="http://schemas.openxmlformats.org/officeDocument/2006/relationships/slideLayout" Target="../slideLayouts/slideLayout817.xml"/><Relationship Id="rId59" Type="http://schemas.openxmlformats.org/officeDocument/2006/relationships/slideLayout" Target="../slideLayouts/slideLayout830.xml"/><Relationship Id="rId67" Type="http://schemas.openxmlformats.org/officeDocument/2006/relationships/slideLayout" Target="../slideLayouts/slideLayout838.xml"/><Relationship Id="rId20" Type="http://schemas.openxmlformats.org/officeDocument/2006/relationships/slideLayout" Target="../slideLayouts/slideLayout791.xml"/><Relationship Id="rId41" Type="http://schemas.openxmlformats.org/officeDocument/2006/relationships/slideLayout" Target="../slideLayouts/slideLayout812.xml"/><Relationship Id="rId54" Type="http://schemas.openxmlformats.org/officeDocument/2006/relationships/slideLayout" Target="../slideLayouts/slideLayout825.xml"/><Relationship Id="rId62" Type="http://schemas.openxmlformats.org/officeDocument/2006/relationships/slideLayout" Target="../slideLayouts/slideLayout833.xml"/><Relationship Id="rId1" Type="http://schemas.openxmlformats.org/officeDocument/2006/relationships/slideLayout" Target="../slideLayouts/slideLayout772.xml"/><Relationship Id="rId6" Type="http://schemas.openxmlformats.org/officeDocument/2006/relationships/slideLayout" Target="../slideLayouts/slideLayout777.xml"/><Relationship Id="rId15" Type="http://schemas.openxmlformats.org/officeDocument/2006/relationships/slideLayout" Target="../slideLayouts/slideLayout786.xml"/><Relationship Id="rId23" Type="http://schemas.openxmlformats.org/officeDocument/2006/relationships/slideLayout" Target="../slideLayouts/slideLayout794.xml"/><Relationship Id="rId28" Type="http://schemas.openxmlformats.org/officeDocument/2006/relationships/slideLayout" Target="../slideLayouts/slideLayout799.xml"/><Relationship Id="rId36" Type="http://schemas.openxmlformats.org/officeDocument/2006/relationships/slideLayout" Target="../slideLayouts/slideLayout807.xml"/><Relationship Id="rId49" Type="http://schemas.openxmlformats.org/officeDocument/2006/relationships/slideLayout" Target="../slideLayouts/slideLayout820.xml"/><Relationship Id="rId57" Type="http://schemas.openxmlformats.org/officeDocument/2006/relationships/slideLayout" Target="../slideLayouts/slideLayout828.xml"/><Relationship Id="rId10" Type="http://schemas.openxmlformats.org/officeDocument/2006/relationships/slideLayout" Target="../slideLayouts/slideLayout781.xml"/><Relationship Id="rId31" Type="http://schemas.openxmlformats.org/officeDocument/2006/relationships/slideLayout" Target="../slideLayouts/slideLayout802.xml"/><Relationship Id="rId44" Type="http://schemas.openxmlformats.org/officeDocument/2006/relationships/slideLayout" Target="../slideLayouts/slideLayout815.xml"/><Relationship Id="rId52" Type="http://schemas.openxmlformats.org/officeDocument/2006/relationships/slideLayout" Target="../slideLayouts/slideLayout823.xml"/><Relationship Id="rId60" Type="http://schemas.openxmlformats.org/officeDocument/2006/relationships/slideLayout" Target="../slideLayouts/slideLayout831.xml"/><Relationship Id="rId65" Type="http://schemas.openxmlformats.org/officeDocument/2006/relationships/slideLayout" Target="../slideLayouts/slideLayout836.xml"/><Relationship Id="rId4" Type="http://schemas.openxmlformats.org/officeDocument/2006/relationships/slideLayout" Target="../slideLayouts/slideLayout775.xml"/><Relationship Id="rId9" Type="http://schemas.openxmlformats.org/officeDocument/2006/relationships/slideLayout" Target="../slideLayouts/slideLayout780.xml"/><Relationship Id="rId13" Type="http://schemas.openxmlformats.org/officeDocument/2006/relationships/slideLayout" Target="../slideLayouts/slideLayout784.xml"/><Relationship Id="rId18" Type="http://schemas.openxmlformats.org/officeDocument/2006/relationships/slideLayout" Target="../slideLayouts/slideLayout789.xml"/><Relationship Id="rId39" Type="http://schemas.openxmlformats.org/officeDocument/2006/relationships/slideLayout" Target="../slideLayouts/slideLayout810.xml"/><Relationship Id="rId34" Type="http://schemas.openxmlformats.org/officeDocument/2006/relationships/slideLayout" Target="../slideLayouts/slideLayout805.xml"/><Relationship Id="rId50" Type="http://schemas.openxmlformats.org/officeDocument/2006/relationships/slideLayout" Target="../slideLayouts/slideLayout821.xml"/><Relationship Id="rId55" Type="http://schemas.openxmlformats.org/officeDocument/2006/relationships/slideLayout" Target="../slideLayouts/slideLayout82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1.gi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1.gif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42" Type="http://schemas.openxmlformats.org/officeDocument/2006/relationships/slideLayout" Target="../slideLayouts/slideLayout89.xml"/><Relationship Id="rId47" Type="http://schemas.openxmlformats.org/officeDocument/2006/relationships/slideLayout" Target="../slideLayouts/slideLayout94.xml"/><Relationship Id="rId50" Type="http://schemas.openxmlformats.org/officeDocument/2006/relationships/slideLayout" Target="../slideLayouts/slideLayout97.xml"/><Relationship Id="rId55" Type="http://schemas.openxmlformats.org/officeDocument/2006/relationships/slideLayout" Target="../slideLayouts/slideLayout102.xml"/><Relationship Id="rId6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45" Type="http://schemas.openxmlformats.org/officeDocument/2006/relationships/slideLayout" Target="../slideLayouts/slideLayout92.xml"/><Relationship Id="rId53" Type="http://schemas.openxmlformats.org/officeDocument/2006/relationships/slideLayout" Target="../slideLayouts/slideLayout100.xml"/><Relationship Id="rId58" Type="http://schemas.openxmlformats.org/officeDocument/2006/relationships/slideLayout" Target="../slideLayouts/slideLayout105.xml"/><Relationship Id="rId66" Type="http://schemas.openxmlformats.org/officeDocument/2006/relationships/image" Target="../media/image6.gif"/><Relationship Id="rId5" Type="http://schemas.openxmlformats.org/officeDocument/2006/relationships/slideLayout" Target="../slideLayouts/slideLayout52.xml"/><Relationship Id="rId61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Relationship Id="rId43" Type="http://schemas.openxmlformats.org/officeDocument/2006/relationships/slideLayout" Target="../slideLayouts/slideLayout90.xml"/><Relationship Id="rId48" Type="http://schemas.openxmlformats.org/officeDocument/2006/relationships/slideLayout" Target="../slideLayouts/slideLayout95.xml"/><Relationship Id="rId56" Type="http://schemas.openxmlformats.org/officeDocument/2006/relationships/slideLayout" Target="../slideLayouts/slideLayout103.xml"/><Relationship Id="rId64" Type="http://schemas.openxmlformats.org/officeDocument/2006/relationships/slideLayout" Target="../slideLayouts/slideLayout111.xml"/><Relationship Id="rId8" Type="http://schemas.openxmlformats.org/officeDocument/2006/relationships/slideLayout" Target="../slideLayouts/slideLayout55.xml"/><Relationship Id="rId51" Type="http://schemas.openxmlformats.org/officeDocument/2006/relationships/slideLayout" Target="../slideLayouts/slideLayout98.xml"/><Relationship Id="rId3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46" Type="http://schemas.openxmlformats.org/officeDocument/2006/relationships/slideLayout" Target="../slideLayouts/slideLayout93.xml"/><Relationship Id="rId59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67.xml"/><Relationship Id="rId41" Type="http://schemas.openxmlformats.org/officeDocument/2006/relationships/slideLayout" Target="../slideLayouts/slideLayout88.xml"/><Relationship Id="rId54" Type="http://schemas.openxmlformats.org/officeDocument/2006/relationships/slideLayout" Target="../slideLayouts/slideLayout101.xml"/><Relationship Id="rId6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49" Type="http://schemas.openxmlformats.org/officeDocument/2006/relationships/slideLayout" Target="../slideLayouts/slideLayout96.xml"/><Relationship Id="rId57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78.xml"/><Relationship Id="rId44" Type="http://schemas.openxmlformats.org/officeDocument/2006/relationships/slideLayout" Target="../slideLayouts/slideLayout91.xml"/><Relationship Id="rId52" Type="http://schemas.openxmlformats.org/officeDocument/2006/relationships/slideLayout" Target="../slideLayouts/slideLayout99.xml"/><Relationship Id="rId60" Type="http://schemas.openxmlformats.org/officeDocument/2006/relationships/slideLayout" Target="../slideLayouts/slideLayout107.xml"/><Relationship Id="rId65" Type="http://schemas.openxmlformats.org/officeDocument/2006/relationships/theme" Target="../theme/theme4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39" Type="http://schemas.openxmlformats.org/officeDocument/2006/relationships/slideLayout" Target="../slideLayouts/slideLayout86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4.xml"/><Relationship Id="rId18" Type="http://schemas.openxmlformats.org/officeDocument/2006/relationships/slideLayout" Target="../slideLayouts/slideLayout129.xml"/><Relationship Id="rId26" Type="http://schemas.openxmlformats.org/officeDocument/2006/relationships/slideLayout" Target="../slideLayouts/slideLayout137.xml"/><Relationship Id="rId39" Type="http://schemas.openxmlformats.org/officeDocument/2006/relationships/slideLayout" Target="../slideLayouts/slideLayout150.xml"/><Relationship Id="rId21" Type="http://schemas.openxmlformats.org/officeDocument/2006/relationships/slideLayout" Target="../slideLayouts/slideLayout132.xml"/><Relationship Id="rId34" Type="http://schemas.openxmlformats.org/officeDocument/2006/relationships/slideLayout" Target="../slideLayouts/slideLayout145.xml"/><Relationship Id="rId42" Type="http://schemas.openxmlformats.org/officeDocument/2006/relationships/slideLayout" Target="../slideLayouts/slideLayout153.xml"/><Relationship Id="rId47" Type="http://schemas.openxmlformats.org/officeDocument/2006/relationships/slideLayout" Target="../slideLayouts/slideLayout158.xml"/><Relationship Id="rId50" Type="http://schemas.openxmlformats.org/officeDocument/2006/relationships/slideLayout" Target="../slideLayouts/slideLayout161.xml"/><Relationship Id="rId55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27.xml"/><Relationship Id="rId29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22.xml"/><Relationship Id="rId24" Type="http://schemas.openxmlformats.org/officeDocument/2006/relationships/slideLayout" Target="../slideLayouts/slideLayout135.xml"/><Relationship Id="rId32" Type="http://schemas.openxmlformats.org/officeDocument/2006/relationships/slideLayout" Target="../slideLayouts/slideLayout143.xml"/><Relationship Id="rId37" Type="http://schemas.openxmlformats.org/officeDocument/2006/relationships/slideLayout" Target="../slideLayouts/slideLayout148.xml"/><Relationship Id="rId40" Type="http://schemas.openxmlformats.org/officeDocument/2006/relationships/slideLayout" Target="../slideLayouts/slideLayout151.xml"/><Relationship Id="rId45" Type="http://schemas.openxmlformats.org/officeDocument/2006/relationships/slideLayout" Target="../slideLayouts/slideLayout156.xml"/><Relationship Id="rId53" Type="http://schemas.openxmlformats.org/officeDocument/2006/relationships/slideLayout" Target="../slideLayouts/slideLayout164.xml"/><Relationship Id="rId58" Type="http://schemas.openxmlformats.org/officeDocument/2006/relationships/image" Target="../media/image6.gif"/><Relationship Id="rId5" Type="http://schemas.openxmlformats.org/officeDocument/2006/relationships/slideLayout" Target="../slideLayouts/slideLayout116.xml"/><Relationship Id="rId19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5.xml"/><Relationship Id="rId22" Type="http://schemas.openxmlformats.org/officeDocument/2006/relationships/slideLayout" Target="../slideLayouts/slideLayout133.xml"/><Relationship Id="rId27" Type="http://schemas.openxmlformats.org/officeDocument/2006/relationships/slideLayout" Target="../slideLayouts/slideLayout138.xml"/><Relationship Id="rId30" Type="http://schemas.openxmlformats.org/officeDocument/2006/relationships/slideLayout" Target="../slideLayouts/slideLayout141.xml"/><Relationship Id="rId35" Type="http://schemas.openxmlformats.org/officeDocument/2006/relationships/slideLayout" Target="../slideLayouts/slideLayout146.xml"/><Relationship Id="rId43" Type="http://schemas.openxmlformats.org/officeDocument/2006/relationships/slideLayout" Target="../slideLayouts/slideLayout154.xml"/><Relationship Id="rId48" Type="http://schemas.openxmlformats.org/officeDocument/2006/relationships/slideLayout" Target="../slideLayouts/slideLayout159.xml"/><Relationship Id="rId56" Type="http://schemas.openxmlformats.org/officeDocument/2006/relationships/slideLayout" Target="../slideLayouts/slideLayout167.xml"/><Relationship Id="rId8" Type="http://schemas.openxmlformats.org/officeDocument/2006/relationships/slideLayout" Target="../slideLayouts/slideLayout119.xml"/><Relationship Id="rId51" Type="http://schemas.openxmlformats.org/officeDocument/2006/relationships/slideLayout" Target="../slideLayouts/slideLayout162.xml"/><Relationship Id="rId3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23.xml"/><Relationship Id="rId17" Type="http://schemas.openxmlformats.org/officeDocument/2006/relationships/slideLayout" Target="../slideLayouts/slideLayout128.xml"/><Relationship Id="rId25" Type="http://schemas.openxmlformats.org/officeDocument/2006/relationships/slideLayout" Target="../slideLayouts/slideLayout136.xml"/><Relationship Id="rId33" Type="http://schemas.openxmlformats.org/officeDocument/2006/relationships/slideLayout" Target="../slideLayouts/slideLayout144.xml"/><Relationship Id="rId38" Type="http://schemas.openxmlformats.org/officeDocument/2006/relationships/slideLayout" Target="../slideLayouts/slideLayout149.xml"/><Relationship Id="rId46" Type="http://schemas.openxmlformats.org/officeDocument/2006/relationships/slideLayout" Target="../slideLayouts/slideLayout157.xml"/><Relationship Id="rId20" Type="http://schemas.openxmlformats.org/officeDocument/2006/relationships/slideLayout" Target="../slideLayouts/slideLayout131.xml"/><Relationship Id="rId41" Type="http://schemas.openxmlformats.org/officeDocument/2006/relationships/slideLayout" Target="../slideLayouts/slideLayout152.xml"/><Relationship Id="rId54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5" Type="http://schemas.openxmlformats.org/officeDocument/2006/relationships/slideLayout" Target="../slideLayouts/slideLayout126.xml"/><Relationship Id="rId23" Type="http://schemas.openxmlformats.org/officeDocument/2006/relationships/slideLayout" Target="../slideLayouts/slideLayout134.xml"/><Relationship Id="rId28" Type="http://schemas.openxmlformats.org/officeDocument/2006/relationships/slideLayout" Target="../slideLayouts/slideLayout139.xml"/><Relationship Id="rId36" Type="http://schemas.openxmlformats.org/officeDocument/2006/relationships/slideLayout" Target="../slideLayouts/slideLayout147.xml"/><Relationship Id="rId49" Type="http://schemas.openxmlformats.org/officeDocument/2006/relationships/slideLayout" Target="../slideLayouts/slideLayout160.xml"/><Relationship Id="rId57" Type="http://schemas.openxmlformats.org/officeDocument/2006/relationships/theme" Target="../theme/theme5.xml"/><Relationship Id="rId10" Type="http://schemas.openxmlformats.org/officeDocument/2006/relationships/slideLayout" Target="../slideLayouts/slideLayout121.xml"/><Relationship Id="rId31" Type="http://schemas.openxmlformats.org/officeDocument/2006/relationships/slideLayout" Target="../slideLayouts/slideLayout142.xml"/><Relationship Id="rId44" Type="http://schemas.openxmlformats.org/officeDocument/2006/relationships/slideLayout" Target="../slideLayouts/slideLayout155.xml"/><Relationship Id="rId52" Type="http://schemas.openxmlformats.org/officeDocument/2006/relationships/slideLayout" Target="../slideLayouts/slideLayout16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5.xml"/><Relationship Id="rId13" Type="http://schemas.openxmlformats.org/officeDocument/2006/relationships/slideLayout" Target="../slideLayouts/slideLayout180.xml"/><Relationship Id="rId18" Type="http://schemas.openxmlformats.org/officeDocument/2006/relationships/slideLayout" Target="../slideLayouts/slideLayout185.xml"/><Relationship Id="rId3" Type="http://schemas.openxmlformats.org/officeDocument/2006/relationships/slideLayout" Target="../slideLayouts/slideLayout170.xml"/><Relationship Id="rId21" Type="http://schemas.openxmlformats.org/officeDocument/2006/relationships/image" Target="../media/image14.png"/><Relationship Id="rId7" Type="http://schemas.openxmlformats.org/officeDocument/2006/relationships/slideLayout" Target="../slideLayouts/slideLayout174.xml"/><Relationship Id="rId12" Type="http://schemas.openxmlformats.org/officeDocument/2006/relationships/slideLayout" Target="../slideLayouts/slideLayout179.xml"/><Relationship Id="rId17" Type="http://schemas.openxmlformats.org/officeDocument/2006/relationships/slideLayout" Target="../slideLayouts/slideLayout184.xml"/><Relationship Id="rId2" Type="http://schemas.openxmlformats.org/officeDocument/2006/relationships/slideLayout" Target="../slideLayouts/slideLayout169.xml"/><Relationship Id="rId16" Type="http://schemas.openxmlformats.org/officeDocument/2006/relationships/slideLayout" Target="../slideLayouts/slideLayout183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1" Type="http://schemas.openxmlformats.org/officeDocument/2006/relationships/slideLayout" Target="../slideLayouts/slideLayout178.xml"/><Relationship Id="rId5" Type="http://schemas.openxmlformats.org/officeDocument/2006/relationships/slideLayout" Target="../slideLayouts/slideLayout172.xml"/><Relationship Id="rId15" Type="http://schemas.openxmlformats.org/officeDocument/2006/relationships/slideLayout" Target="../slideLayouts/slideLayout182.xml"/><Relationship Id="rId10" Type="http://schemas.openxmlformats.org/officeDocument/2006/relationships/slideLayout" Target="../slideLayouts/slideLayout177.xml"/><Relationship Id="rId19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Relationship Id="rId14" Type="http://schemas.openxmlformats.org/officeDocument/2006/relationships/slideLayout" Target="../slideLayouts/slideLayout181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9.xml"/><Relationship Id="rId18" Type="http://schemas.openxmlformats.org/officeDocument/2006/relationships/slideLayout" Target="../slideLayouts/slideLayout204.xml"/><Relationship Id="rId26" Type="http://schemas.openxmlformats.org/officeDocument/2006/relationships/slideLayout" Target="../slideLayouts/slideLayout212.xml"/><Relationship Id="rId39" Type="http://schemas.openxmlformats.org/officeDocument/2006/relationships/slideLayout" Target="../slideLayouts/slideLayout225.xml"/><Relationship Id="rId21" Type="http://schemas.openxmlformats.org/officeDocument/2006/relationships/slideLayout" Target="../slideLayouts/slideLayout207.xml"/><Relationship Id="rId34" Type="http://schemas.openxmlformats.org/officeDocument/2006/relationships/slideLayout" Target="../slideLayouts/slideLayout220.xml"/><Relationship Id="rId42" Type="http://schemas.openxmlformats.org/officeDocument/2006/relationships/slideLayout" Target="../slideLayouts/slideLayout228.xml"/><Relationship Id="rId47" Type="http://schemas.openxmlformats.org/officeDocument/2006/relationships/slideLayout" Target="../slideLayouts/slideLayout233.xml"/><Relationship Id="rId50" Type="http://schemas.openxmlformats.org/officeDocument/2006/relationships/slideLayout" Target="../slideLayouts/slideLayout236.xml"/><Relationship Id="rId55" Type="http://schemas.openxmlformats.org/officeDocument/2006/relationships/slideLayout" Target="../slideLayouts/slideLayout241.xml"/><Relationship Id="rId7" Type="http://schemas.openxmlformats.org/officeDocument/2006/relationships/slideLayout" Target="../slideLayouts/slideLayout193.xml"/><Relationship Id="rId2" Type="http://schemas.openxmlformats.org/officeDocument/2006/relationships/slideLayout" Target="../slideLayouts/slideLayout188.xml"/><Relationship Id="rId16" Type="http://schemas.openxmlformats.org/officeDocument/2006/relationships/slideLayout" Target="../slideLayouts/slideLayout202.xml"/><Relationship Id="rId29" Type="http://schemas.openxmlformats.org/officeDocument/2006/relationships/slideLayout" Target="../slideLayouts/slideLayout215.xml"/><Relationship Id="rId11" Type="http://schemas.openxmlformats.org/officeDocument/2006/relationships/slideLayout" Target="../slideLayouts/slideLayout197.xml"/><Relationship Id="rId24" Type="http://schemas.openxmlformats.org/officeDocument/2006/relationships/slideLayout" Target="../slideLayouts/slideLayout210.xml"/><Relationship Id="rId32" Type="http://schemas.openxmlformats.org/officeDocument/2006/relationships/slideLayout" Target="../slideLayouts/slideLayout218.xml"/><Relationship Id="rId37" Type="http://schemas.openxmlformats.org/officeDocument/2006/relationships/slideLayout" Target="../slideLayouts/slideLayout223.xml"/><Relationship Id="rId40" Type="http://schemas.openxmlformats.org/officeDocument/2006/relationships/slideLayout" Target="../slideLayouts/slideLayout226.xml"/><Relationship Id="rId45" Type="http://schemas.openxmlformats.org/officeDocument/2006/relationships/slideLayout" Target="../slideLayouts/slideLayout231.xml"/><Relationship Id="rId53" Type="http://schemas.openxmlformats.org/officeDocument/2006/relationships/slideLayout" Target="../slideLayouts/slideLayout239.xml"/><Relationship Id="rId58" Type="http://schemas.openxmlformats.org/officeDocument/2006/relationships/image" Target="../media/image6.gif"/><Relationship Id="rId5" Type="http://schemas.openxmlformats.org/officeDocument/2006/relationships/slideLayout" Target="../slideLayouts/slideLayout191.xml"/><Relationship Id="rId19" Type="http://schemas.openxmlformats.org/officeDocument/2006/relationships/slideLayout" Target="../slideLayouts/slideLayout205.xml"/><Relationship Id="rId4" Type="http://schemas.openxmlformats.org/officeDocument/2006/relationships/slideLayout" Target="../slideLayouts/slideLayout190.xml"/><Relationship Id="rId9" Type="http://schemas.openxmlformats.org/officeDocument/2006/relationships/slideLayout" Target="../slideLayouts/slideLayout195.xml"/><Relationship Id="rId14" Type="http://schemas.openxmlformats.org/officeDocument/2006/relationships/slideLayout" Target="../slideLayouts/slideLayout200.xml"/><Relationship Id="rId22" Type="http://schemas.openxmlformats.org/officeDocument/2006/relationships/slideLayout" Target="../slideLayouts/slideLayout208.xml"/><Relationship Id="rId27" Type="http://schemas.openxmlformats.org/officeDocument/2006/relationships/slideLayout" Target="../slideLayouts/slideLayout213.xml"/><Relationship Id="rId30" Type="http://schemas.openxmlformats.org/officeDocument/2006/relationships/slideLayout" Target="../slideLayouts/slideLayout216.xml"/><Relationship Id="rId35" Type="http://schemas.openxmlformats.org/officeDocument/2006/relationships/slideLayout" Target="../slideLayouts/slideLayout221.xml"/><Relationship Id="rId43" Type="http://schemas.openxmlformats.org/officeDocument/2006/relationships/slideLayout" Target="../slideLayouts/slideLayout229.xml"/><Relationship Id="rId48" Type="http://schemas.openxmlformats.org/officeDocument/2006/relationships/slideLayout" Target="../slideLayouts/slideLayout234.xml"/><Relationship Id="rId56" Type="http://schemas.openxmlformats.org/officeDocument/2006/relationships/slideLayout" Target="../slideLayouts/slideLayout242.xml"/><Relationship Id="rId8" Type="http://schemas.openxmlformats.org/officeDocument/2006/relationships/slideLayout" Target="../slideLayouts/slideLayout194.xml"/><Relationship Id="rId51" Type="http://schemas.openxmlformats.org/officeDocument/2006/relationships/slideLayout" Target="../slideLayouts/slideLayout237.xml"/><Relationship Id="rId3" Type="http://schemas.openxmlformats.org/officeDocument/2006/relationships/slideLayout" Target="../slideLayouts/slideLayout189.xml"/><Relationship Id="rId12" Type="http://schemas.openxmlformats.org/officeDocument/2006/relationships/slideLayout" Target="../slideLayouts/slideLayout198.xml"/><Relationship Id="rId17" Type="http://schemas.openxmlformats.org/officeDocument/2006/relationships/slideLayout" Target="../slideLayouts/slideLayout203.xml"/><Relationship Id="rId25" Type="http://schemas.openxmlformats.org/officeDocument/2006/relationships/slideLayout" Target="../slideLayouts/slideLayout211.xml"/><Relationship Id="rId33" Type="http://schemas.openxmlformats.org/officeDocument/2006/relationships/slideLayout" Target="../slideLayouts/slideLayout219.xml"/><Relationship Id="rId38" Type="http://schemas.openxmlformats.org/officeDocument/2006/relationships/slideLayout" Target="../slideLayouts/slideLayout224.xml"/><Relationship Id="rId46" Type="http://schemas.openxmlformats.org/officeDocument/2006/relationships/slideLayout" Target="../slideLayouts/slideLayout232.xml"/><Relationship Id="rId20" Type="http://schemas.openxmlformats.org/officeDocument/2006/relationships/slideLayout" Target="../slideLayouts/slideLayout206.xml"/><Relationship Id="rId41" Type="http://schemas.openxmlformats.org/officeDocument/2006/relationships/slideLayout" Target="../slideLayouts/slideLayout227.xml"/><Relationship Id="rId54" Type="http://schemas.openxmlformats.org/officeDocument/2006/relationships/slideLayout" Target="../slideLayouts/slideLayout240.xml"/><Relationship Id="rId1" Type="http://schemas.openxmlformats.org/officeDocument/2006/relationships/slideLayout" Target="../slideLayouts/slideLayout187.xml"/><Relationship Id="rId6" Type="http://schemas.openxmlformats.org/officeDocument/2006/relationships/slideLayout" Target="../slideLayouts/slideLayout192.xml"/><Relationship Id="rId15" Type="http://schemas.openxmlformats.org/officeDocument/2006/relationships/slideLayout" Target="../slideLayouts/slideLayout201.xml"/><Relationship Id="rId23" Type="http://schemas.openxmlformats.org/officeDocument/2006/relationships/slideLayout" Target="../slideLayouts/slideLayout209.xml"/><Relationship Id="rId28" Type="http://schemas.openxmlformats.org/officeDocument/2006/relationships/slideLayout" Target="../slideLayouts/slideLayout214.xml"/><Relationship Id="rId36" Type="http://schemas.openxmlformats.org/officeDocument/2006/relationships/slideLayout" Target="../slideLayouts/slideLayout222.xml"/><Relationship Id="rId49" Type="http://schemas.openxmlformats.org/officeDocument/2006/relationships/slideLayout" Target="../slideLayouts/slideLayout235.xml"/><Relationship Id="rId57" Type="http://schemas.openxmlformats.org/officeDocument/2006/relationships/theme" Target="../theme/theme7.xml"/><Relationship Id="rId10" Type="http://schemas.openxmlformats.org/officeDocument/2006/relationships/slideLayout" Target="../slideLayouts/slideLayout196.xml"/><Relationship Id="rId31" Type="http://schemas.openxmlformats.org/officeDocument/2006/relationships/slideLayout" Target="../slideLayouts/slideLayout217.xml"/><Relationship Id="rId44" Type="http://schemas.openxmlformats.org/officeDocument/2006/relationships/slideLayout" Target="../slideLayouts/slideLayout230.xml"/><Relationship Id="rId52" Type="http://schemas.openxmlformats.org/officeDocument/2006/relationships/slideLayout" Target="../slideLayouts/slideLayout238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5.xml"/><Relationship Id="rId18" Type="http://schemas.openxmlformats.org/officeDocument/2006/relationships/slideLayout" Target="../slideLayouts/slideLayout260.xml"/><Relationship Id="rId26" Type="http://schemas.openxmlformats.org/officeDocument/2006/relationships/slideLayout" Target="../slideLayouts/slideLayout268.xml"/><Relationship Id="rId39" Type="http://schemas.openxmlformats.org/officeDocument/2006/relationships/slideLayout" Target="../slideLayouts/slideLayout281.xml"/><Relationship Id="rId21" Type="http://schemas.openxmlformats.org/officeDocument/2006/relationships/slideLayout" Target="../slideLayouts/slideLayout263.xml"/><Relationship Id="rId34" Type="http://schemas.openxmlformats.org/officeDocument/2006/relationships/slideLayout" Target="../slideLayouts/slideLayout276.xml"/><Relationship Id="rId42" Type="http://schemas.openxmlformats.org/officeDocument/2006/relationships/slideLayout" Target="../slideLayouts/slideLayout284.xml"/><Relationship Id="rId47" Type="http://schemas.openxmlformats.org/officeDocument/2006/relationships/slideLayout" Target="../slideLayouts/slideLayout289.xml"/><Relationship Id="rId50" Type="http://schemas.openxmlformats.org/officeDocument/2006/relationships/slideLayout" Target="../slideLayouts/slideLayout292.xml"/><Relationship Id="rId55" Type="http://schemas.openxmlformats.org/officeDocument/2006/relationships/slideLayout" Target="../slideLayouts/slideLayout297.xml"/><Relationship Id="rId7" Type="http://schemas.openxmlformats.org/officeDocument/2006/relationships/slideLayout" Target="../slideLayouts/slideLayout249.xml"/><Relationship Id="rId2" Type="http://schemas.openxmlformats.org/officeDocument/2006/relationships/slideLayout" Target="../slideLayouts/slideLayout244.xml"/><Relationship Id="rId16" Type="http://schemas.openxmlformats.org/officeDocument/2006/relationships/slideLayout" Target="../slideLayouts/slideLayout258.xml"/><Relationship Id="rId29" Type="http://schemas.openxmlformats.org/officeDocument/2006/relationships/slideLayout" Target="../slideLayouts/slideLayout271.xml"/><Relationship Id="rId11" Type="http://schemas.openxmlformats.org/officeDocument/2006/relationships/slideLayout" Target="../slideLayouts/slideLayout253.xml"/><Relationship Id="rId24" Type="http://schemas.openxmlformats.org/officeDocument/2006/relationships/slideLayout" Target="../slideLayouts/slideLayout266.xml"/><Relationship Id="rId32" Type="http://schemas.openxmlformats.org/officeDocument/2006/relationships/slideLayout" Target="../slideLayouts/slideLayout274.xml"/><Relationship Id="rId37" Type="http://schemas.openxmlformats.org/officeDocument/2006/relationships/slideLayout" Target="../slideLayouts/slideLayout279.xml"/><Relationship Id="rId40" Type="http://schemas.openxmlformats.org/officeDocument/2006/relationships/slideLayout" Target="../slideLayouts/slideLayout282.xml"/><Relationship Id="rId45" Type="http://schemas.openxmlformats.org/officeDocument/2006/relationships/slideLayout" Target="../slideLayouts/slideLayout287.xml"/><Relationship Id="rId53" Type="http://schemas.openxmlformats.org/officeDocument/2006/relationships/slideLayout" Target="../slideLayouts/slideLayout295.xml"/><Relationship Id="rId58" Type="http://schemas.openxmlformats.org/officeDocument/2006/relationships/theme" Target="../theme/theme8.xml"/><Relationship Id="rId5" Type="http://schemas.openxmlformats.org/officeDocument/2006/relationships/slideLayout" Target="../slideLayouts/slideLayout247.xml"/><Relationship Id="rId19" Type="http://schemas.openxmlformats.org/officeDocument/2006/relationships/slideLayout" Target="../slideLayouts/slideLayout261.xml"/><Relationship Id="rId4" Type="http://schemas.openxmlformats.org/officeDocument/2006/relationships/slideLayout" Target="../slideLayouts/slideLayout246.xml"/><Relationship Id="rId9" Type="http://schemas.openxmlformats.org/officeDocument/2006/relationships/slideLayout" Target="../slideLayouts/slideLayout251.xml"/><Relationship Id="rId14" Type="http://schemas.openxmlformats.org/officeDocument/2006/relationships/slideLayout" Target="../slideLayouts/slideLayout256.xml"/><Relationship Id="rId22" Type="http://schemas.openxmlformats.org/officeDocument/2006/relationships/slideLayout" Target="../slideLayouts/slideLayout264.xml"/><Relationship Id="rId27" Type="http://schemas.openxmlformats.org/officeDocument/2006/relationships/slideLayout" Target="../slideLayouts/slideLayout269.xml"/><Relationship Id="rId30" Type="http://schemas.openxmlformats.org/officeDocument/2006/relationships/slideLayout" Target="../slideLayouts/slideLayout272.xml"/><Relationship Id="rId35" Type="http://schemas.openxmlformats.org/officeDocument/2006/relationships/slideLayout" Target="../slideLayouts/slideLayout277.xml"/><Relationship Id="rId43" Type="http://schemas.openxmlformats.org/officeDocument/2006/relationships/slideLayout" Target="../slideLayouts/slideLayout285.xml"/><Relationship Id="rId48" Type="http://schemas.openxmlformats.org/officeDocument/2006/relationships/slideLayout" Target="../slideLayouts/slideLayout290.xml"/><Relationship Id="rId56" Type="http://schemas.openxmlformats.org/officeDocument/2006/relationships/slideLayout" Target="../slideLayouts/slideLayout298.xml"/><Relationship Id="rId8" Type="http://schemas.openxmlformats.org/officeDocument/2006/relationships/slideLayout" Target="../slideLayouts/slideLayout250.xml"/><Relationship Id="rId51" Type="http://schemas.openxmlformats.org/officeDocument/2006/relationships/slideLayout" Target="../slideLayouts/slideLayout293.xml"/><Relationship Id="rId3" Type="http://schemas.openxmlformats.org/officeDocument/2006/relationships/slideLayout" Target="../slideLayouts/slideLayout245.xml"/><Relationship Id="rId12" Type="http://schemas.openxmlformats.org/officeDocument/2006/relationships/slideLayout" Target="../slideLayouts/slideLayout254.xml"/><Relationship Id="rId17" Type="http://schemas.openxmlformats.org/officeDocument/2006/relationships/slideLayout" Target="../slideLayouts/slideLayout259.xml"/><Relationship Id="rId25" Type="http://schemas.openxmlformats.org/officeDocument/2006/relationships/slideLayout" Target="../slideLayouts/slideLayout267.xml"/><Relationship Id="rId33" Type="http://schemas.openxmlformats.org/officeDocument/2006/relationships/slideLayout" Target="../slideLayouts/slideLayout275.xml"/><Relationship Id="rId38" Type="http://schemas.openxmlformats.org/officeDocument/2006/relationships/slideLayout" Target="../slideLayouts/slideLayout280.xml"/><Relationship Id="rId46" Type="http://schemas.openxmlformats.org/officeDocument/2006/relationships/slideLayout" Target="../slideLayouts/slideLayout288.xml"/><Relationship Id="rId59" Type="http://schemas.openxmlformats.org/officeDocument/2006/relationships/image" Target="../media/image6.gif"/><Relationship Id="rId20" Type="http://schemas.openxmlformats.org/officeDocument/2006/relationships/slideLayout" Target="../slideLayouts/slideLayout262.xml"/><Relationship Id="rId41" Type="http://schemas.openxmlformats.org/officeDocument/2006/relationships/slideLayout" Target="../slideLayouts/slideLayout283.xml"/><Relationship Id="rId54" Type="http://schemas.openxmlformats.org/officeDocument/2006/relationships/slideLayout" Target="../slideLayouts/slideLayout296.xml"/><Relationship Id="rId1" Type="http://schemas.openxmlformats.org/officeDocument/2006/relationships/slideLayout" Target="../slideLayouts/slideLayout243.xml"/><Relationship Id="rId6" Type="http://schemas.openxmlformats.org/officeDocument/2006/relationships/slideLayout" Target="../slideLayouts/slideLayout248.xml"/><Relationship Id="rId15" Type="http://schemas.openxmlformats.org/officeDocument/2006/relationships/slideLayout" Target="../slideLayouts/slideLayout257.xml"/><Relationship Id="rId23" Type="http://schemas.openxmlformats.org/officeDocument/2006/relationships/slideLayout" Target="../slideLayouts/slideLayout265.xml"/><Relationship Id="rId28" Type="http://schemas.openxmlformats.org/officeDocument/2006/relationships/slideLayout" Target="../slideLayouts/slideLayout270.xml"/><Relationship Id="rId36" Type="http://schemas.openxmlformats.org/officeDocument/2006/relationships/slideLayout" Target="../slideLayouts/slideLayout278.xml"/><Relationship Id="rId49" Type="http://schemas.openxmlformats.org/officeDocument/2006/relationships/slideLayout" Target="../slideLayouts/slideLayout291.xml"/><Relationship Id="rId57" Type="http://schemas.openxmlformats.org/officeDocument/2006/relationships/slideLayout" Target="../slideLayouts/slideLayout299.xml"/><Relationship Id="rId10" Type="http://schemas.openxmlformats.org/officeDocument/2006/relationships/slideLayout" Target="../slideLayouts/slideLayout252.xml"/><Relationship Id="rId31" Type="http://schemas.openxmlformats.org/officeDocument/2006/relationships/slideLayout" Target="../slideLayouts/slideLayout273.xml"/><Relationship Id="rId44" Type="http://schemas.openxmlformats.org/officeDocument/2006/relationships/slideLayout" Target="../slideLayouts/slideLayout286.xml"/><Relationship Id="rId52" Type="http://schemas.openxmlformats.org/officeDocument/2006/relationships/slideLayout" Target="../slideLayouts/slideLayout294.xml"/></Relationships>
</file>

<file path=ppt/slideMasters/_rels/slideMaster9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25.xml"/><Relationship Id="rId21" Type="http://schemas.openxmlformats.org/officeDocument/2006/relationships/slideLayout" Target="../slideLayouts/slideLayout320.xml"/><Relationship Id="rId34" Type="http://schemas.openxmlformats.org/officeDocument/2006/relationships/slideLayout" Target="../slideLayouts/slideLayout333.xml"/><Relationship Id="rId42" Type="http://schemas.openxmlformats.org/officeDocument/2006/relationships/slideLayout" Target="../slideLayouts/slideLayout341.xml"/><Relationship Id="rId47" Type="http://schemas.openxmlformats.org/officeDocument/2006/relationships/slideLayout" Target="../slideLayouts/slideLayout346.xml"/><Relationship Id="rId50" Type="http://schemas.openxmlformats.org/officeDocument/2006/relationships/slideLayout" Target="../slideLayouts/slideLayout349.xml"/><Relationship Id="rId55" Type="http://schemas.openxmlformats.org/officeDocument/2006/relationships/slideLayout" Target="../slideLayouts/slideLayout354.xml"/><Relationship Id="rId63" Type="http://schemas.openxmlformats.org/officeDocument/2006/relationships/slideLayout" Target="../slideLayouts/slideLayout362.xml"/><Relationship Id="rId7" Type="http://schemas.openxmlformats.org/officeDocument/2006/relationships/slideLayout" Target="../slideLayouts/slideLayout306.xml"/><Relationship Id="rId2" Type="http://schemas.openxmlformats.org/officeDocument/2006/relationships/slideLayout" Target="../slideLayouts/slideLayout301.xml"/><Relationship Id="rId16" Type="http://schemas.openxmlformats.org/officeDocument/2006/relationships/slideLayout" Target="../slideLayouts/slideLayout315.xml"/><Relationship Id="rId29" Type="http://schemas.openxmlformats.org/officeDocument/2006/relationships/slideLayout" Target="../slideLayouts/slideLayout328.xml"/><Relationship Id="rId11" Type="http://schemas.openxmlformats.org/officeDocument/2006/relationships/slideLayout" Target="../slideLayouts/slideLayout310.xml"/><Relationship Id="rId24" Type="http://schemas.openxmlformats.org/officeDocument/2006/relationships/slideLayout" Target="../slideLayouts/slideLayout323.xml"/><Relationship Id="rId32" Type="http://schemas.openxmlformats.org/officeDocument/2006/relationships/slideLayout" Target="../slideLayouts/slideLayout331.xml"/><Relationship Id="rId37" Type="http://schemas.openxmlformats.org/officeDocument/2006/relationships/slideLayout" Target="../slideLayouts/slideLayout336.xml"/><Relationship Id="rId40" Type="http://schemas.openxmlformats.org/officeDocument/2006/relationships/slideLayout" Target="../slideLayouts/slideLayout339.xml"/><Relationship Id="rId45" Type="http://schemas.openxmlformats.org/officeDocument/2006/relationships/slideLayout" Target="../slideLayouts/slideLayout344.xml"/><Relationship Id="rId53" Type="http://schemas.openxmlformats.org/officeDocument/2006/relationships/slideLayout" Target="../slideLayouts/slideLayout352.xml"/><Relationship Id="rId58" Type="http://schemas.openxmlformats.org/officeDocument/2006/relationships/slideLayout" Target="../slideLayouts/slideLayout357.xml"/><Relationship Id="rId66" Type="http://schemas.openxmlformats.org/officeDocument/2006/relationships/image" Target="../media/image1.gif"/><Relationship Id="rId5" Type="http://schemas.openxmlformats.org/officeDocument/2006/relationships/slideLayout" Target="../slideLayouts/slideLayout304.xml"/><Relationship Id="rId61" Type="http://schemas.openxmlformats.org/officeDocument/2006/relationships/slideLayout" Target="../slideLayouts/slideLayout360.xml"/><Relationship Id="rId19" Type="http://schemas.openxmlformats.org/officeDocument/2006/relationships/slideLayout" Target="../slideLayouts/slideLayout318.xml"/><Relationship Id="rId14" Type="http://schemas.openxmlformats.org/officeDocument/2006/relationships/slideLayout" Target="../slideLayouts/slideLayout313.xml"/><Relationship Id="rId22" Type="http://schemas.openxmlformats.org/officeDocument/2006/relationships/slideLayout" Target="../slideLayouts/slideLayout321.xml"/><Relationship Id="rId27" Type="http://schemas.openxmlformats.org/officeDocument/2006/relationships/slideLayout" Target="../slideLayouts/slideLayout326.xml"/><Relationship Id="rId30" Type="http://schemas.openxmlformats.org/officeDocument/2006/relationships/slideLayout" Target="../slideLayouts/slideLayout329.xml"/><Relationship Id="rId35" Type="http://schemas.openxmlformats.org/officeDocument/2006/relationships/slideLayout" Target="../slideLayouts/slideLayout334.xml"/><Relationship Id="rId43" Type="http://schemas.openxmlformats.org/officeDocument/2006/relationships/slideLayout" Target="../slideLayouts/slideLayout342.xml"/><Relationship Id="rId48" Type="http://schemas.openxmlformats.org/officeDocument/2006/relationships/slideLayout" Target="../slideLayouts/slideLayout347.xml"/><Relationship Id="rId56" Type="http://schemas.openxmlformats.org/officeDocument/2006/relationships/slideLayout" Target="../slideLayouts/slideLayout355.xml"/><Relationship Id="rId64" Type="http://schemas.openxmlformats.org/officeDocument/2006/relationships/slideLayout" Target="../slideLayouts/slideLayout363.xml"/><Relationship Id="rId8" Type="http://schemas.openxmlformats.org/officeDocument/2006/relationships/slideLayout" Target="../slideLayouts/slideLayout307.xml"/><Relationship Id="rId51" Type="http://schemas.openxmlformats.org/officeDocument/2006/relationships/slideLayout" Target="../slideLayouts/slideLayout350.xml"/><Relationship Id="rId3" Type="http://schemas.openxmlformats.org/officeDocument/2006/relationships/slideLayout" Target="../slideLayouts/slideLayout302.xml"/><Relationship Id="rId12" Type="http://schemas.openxmlformats.org/officeDocument/2006/relationships/slideLayout" Target="../slideLayouts/slideLayout311.xml"/><Relationship Id="rId17" Type="http://schemas.openxmlformats.org/officeDocument/2006/relationships/slideLayout" Target="../slideLayouts/slideLayout316.xml"/><Relationship Id="rId25" Type="http://schemas.openxmlformats.org/officeDocument/2006/relationships/slideLayout" Target="../slideLayouts/slideLayout324.xml"/><Relationship Id="rId33" Type="http://schemas.openxmlformats.org/officeDocument/2006/relationships/slideLayout" Target="../slideLayouts/slideLayout332.xml"/><Relationship Id="rId38" Type="http://schemas.openxmlformats.org/officeDocument/2006/relationships/slideLayout" Target="../slideLayouts/slideLayout337.xml"/><Relationship Id="rId46" Type="http://schemas.openxmlformats.org/officeDocument/2006/relationships/slideLayout" Target="../slideLayouts/slideLayout345.xml"/><Relationship Id="rId59" Type="http://schemas.openxmlformats.org/officeDocument/2006/relationships/slideLayout" Target="../slideLayouts/slideLayout358.xml"/><Relationship Id="rId20" Type="http://schemas.openxmlformats.org/officeDocument/2006/relationships/slideLayout" Target="../slideLayouts/slideLayout319.xml"/><Relationship Id="rId41" Type="http://schemas.openxmlformats.org/officeDocument/2006/relationships/slideLayout" Target="../slideLayouts/slideLayout340.xml"/><Relationship Id="rId54" Type="http://schemas.openxmlformats.org/officeDocument/2006/relationships/slideLayout" Target="../slideLayouts/slideLayout353.xml"/><Relationship Id="rId62" Type="http://schemas.openxmlformats.org/officeDocument/2006/relationships/slideLayout" Target="../slideLayouts/slideLayout361.xml"/><Relationship Id="rId1" Type="http://schemas.openxmlformats.org/officeDocument/2006/relationships/slideLayout" Target="../slideLayouts/slideLayout300.xml"/><Relationship Id="rId6" Type="http://schemas.openxmlformats.org/officeDocument/2006/relationships/slideLayout" Target="../slideLayouts/slideLayout305.xml"/><Relationship Id="rId15" Type="http://schemas.openxmlformats.org/officeDocument/2006/relationships/slideLayout" Target="../slideLayouts/slideLayout314.xml"/><Relationship Id="rId23" Type="http://schemas.openxmlformats.org/officeDocument/2006/relationships/slideLayout" Target="../slideLayouts/slideLayout322.xml"/><Relationship Id="rId28" Type="http://schemas.openxmlformats.org/officeDocument/2006/relationships/slideLayout" Target="../slideLayouts/slideLayout327.xml"/><Relationship Id="rId36" Type="http://schemas.openxmlformats.org/officeDocument/2006/relationships/slideLayout" Target="../slideLayouts/slideLayout335.xml"/><Relationship Id="rId49" Type="http://schemas.openxmlformats.org/officeDocument/2006/relationships/slideLayout" Target="../slideLayouts/slideLayout348.xml"/><Relationship Id="rId57" Type="http://schemas.openxmlformats.org/officeDocument/2006/relationships/slideLayout" Target="../slideLayouts/slideLayout356.xml"/><Relationship Id="rId10" Type="http://schemas.openxmlformats.org/officeDocument/2006/relationships/slideLayout" Target="../slideLayouts/slideLayout309.xml"/><Relationship Id="rId31" Type="http://schemas.openxmlformats.org/officeDocument/2006/relationships/slideLayout" Target="../slideLayouts/slideLayout330.xml"/><Relationship Id="rId44" Type="http://schemas.openxmlformats.org/officeDocument/2006/relationships/slideLayout" Target="../slideLayouts/slideLayout343.xml"/><Relationship Id="rId52" Type="http://schemas.openxmlformats.org/officeDocument/2006/relationships/slideLayout" Target="../slideLayouts/slideLayout351.xml"/><Relationship Id="rId60" Type="http://schemas.openxmlformats.org/officeDocument/2006/relationships/slideLayout" Target="../slideLayouts/slideLayout359.xml"/><Relationship Id="rId65" Type="http://schemas.openxmlformats.org/officeDocument/2006/relationships/theme" Target="../theme/theme9.xml"/><Relationship Id="rId4" Type="http://schemas.openxmlformats.org/officeDocument/2006/relationships/slideLayout" Target="../slideLayouts/slideLayout303.xml"/><Relationship Id="rId9" Type="http://schemas.openxmlformats.org/officeDocument/2006/relationships/slideLayout" Target="../slideLayouts/slideLayout308.xml"/><Relationship Id="rId13" Type="http://schemas.openxmlformats.org/officeDocument/2006/relationships/slideLayout" Target="../slideLayouts/slideLayout312.xml"/><Relationship Id="rId18" Type="http://schemas.openxmlformats.org/officeDocument/2006/relationships/slideLayout" Target="../slideLayouts/slideLayout317.xml"/><Relationship Id="rId39" Type="http://schemas.openxmlformats.org/officeDocument/2006/relationships/slideLayout" Target="../slideLayouts/slideLayout3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046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7" r:id="rId1"/>
    <p:sldLayoutId id="2147484038" r:id="rId2"/>
    <p:sldLayoutId id="2147484039" r:id="rId3"/>
    <p:sldLayoutId id="2147484040" r:id="rId4"/>
    <p:sldLayoutId id="2147484041" r:id="rId5"/>
    <p:sldLayoutId id="2147484042" r:id="rId6"/>
    <p:sldLayoutId id="2147484043" r:id="rId7"/>
    <p:sldLayoutId id="2147484044" r:id="rId8"/>
    <p:sldLayoutId id="2147484045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573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  <p:sldLayoutId id="2147483662" r:id="rId7"/>
    <p:sldLayoutId id="2147483663" r:id="rId8"/>
    <p:sldLayoutId id="2147483664" r:id="rId9"/>
    <p:sldLayoutId id="2147483665" r:id="rId10"/>
    <p:sldLayoutId id="2147483666" r:id="rId11"/>
    <p:sldLayoutId id="2147483667" r:id="rId12"/>
    <p:sldLayoutId id="2147483668" r:id="rId13"/>
    <p:sldLayoutId id="2147483669" r:id="rId1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0">
            <a:extLst>
              <a:ext uri="{FF2B5EF4-FFF2-40B4-BE49-F238E27FC236}">
                <a16:creationId xmlns:a16="http://schemas.microsoft.com/office/drawing/2014/main" id="{8E0EB996-1533-40EB-9425-177BDB5E16DF}"/>
              </a:ext>
            </a:extLst>
          </p:cNvPr>
          <p:cNvPicPr>
            <a:picLocks noChangeAspect="1"/>
          </p:cNvPicPr>
          <p:nvPr userDrawn="1"/>
        </p:nvPicPr>
        <p:blipFill>
          <a:blip r:embed="rId70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  <p:pic>
        <p:nvPicPr>
          <p:cNvPr id="9" name="Picture 4" descr="Ogilvy - UNA">
            <a:extLst>
              <a:ext uri="{FF2B5EF4-FFF2-40B4-BE49-F238E27FC236}">
                <a16:creationId xmlns:a16="http://schemas.microsoft.com/office/drawing/2014/main" id="{9E14D873-37C4-4519-95E1-6B41D719958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3340" y="6366198"/>
            <a:ext cx="787277" cy="307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3546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7" r:id="rId1"/>
    <p:sldLayoutId id="2147484048" r:id="rId2"/>
    <p:sldLayoutId id="2147484049" r:id="rId3"/>
    <p:sldLayoutId id="2147484050" r:id="rId4"/>
    <p:sldLayoutId id="2147484051" r:id="rId5"/>
    <p:sldLayoutId id="2147484052" r:id="rId6"/>
    <p:sldLayoutId id="2147484053" r:id="rId7"/>
    <p:sldLayoutId id="2147484054" r:id="rId8"/>
    <p:sldLayoutId id="2147484055" r:id="rId9"/>
    <p:sldLayoutId id="2147484056" r:id="rId10"/>
    <p:sldLayoutId id="2147484057" r:id="rId11"/>
    <p:sldLayoutId id="2147484058" r:id="rId12"/>
    <p:sldLayoutId id="2147484059" r:id="rId13"/>
    <p:sldLayoutId id="2147484060" r:id="rId14"/>
    <p:sldLayoutId id="2147484061" r:id="rId15"/>
    <p:sldLayoutId id="2147484062" r:id="rId16"/>
    <p:sldLayoutId id="2147484063" r:id="rId17"/>
    <p:sldLayoutId id="2147484064" r:id="rId18"/>
    <p:sldLayoutId id="2147484065" r:id="rId19"/>
    <p:sldLayoutId id="2147484066" r:id="rId20"/>
    <p:sldLayoutId id="2147484067" r:id="rId21"/>
    <p:sldLayoutId id="2147484068" r:id="rId22"/>
    <p:sldLayoutId id="2147484069" r:id="rId23"/>
    <p:sldLayoutId id="2147484070" r:id="rId24"/>
    <p:sldLayoutId id="2147484071" r:id="rId25"/>
    <p:sldLayoutId id="2147484072" r:id="rId26"/>
    <p:sldLayoutId id="2147484073" r:id="rId27"/>
    <p:sldLayoutId id="2147484074" r:id="rId28"/>
    <p:sldLayoutId id="2147484075" r:id="rId29"/>
    <p:sldLayoutId id="2147484076" r:id="rId30"/>
    <p:sldLayoutId id="2147484077" r:id="rId31"/>
    <p:sldLayoutId id="2147484078" r:id="rId32"/>
    <p:sldLayoutId id="2147484079" r:id="rId33"/>
    <p:sldLayoutId id="2147484080" r:id="rId34"/>
    <p:sldLayoutId id="2147484081" r:id="rId35"/>
    <p:sldLayoutId id="2147484082" r:id="rId36"/>
    <p:sldLayoutId id="2147484083" r:id="rId37"/>
    <p:sldLayoutId id="2147484084" r:id="rId38"/>
    <p:sldLayoutId id="2147484085" r:id="rId39"/>
    <p:sldLayoutId id="2147484086" r:id="rId40"/>
    <p:sldLayoutId id="2147484087" r:id="rId41"/>
    <p:sldLayoutId id="2147484088" r:id="rId42"/>
    <p:sldLayoutId id="2147484089" r:id="rId43"/>
    <p:sldLayoutId id="2147484090" r:id="rId44"/>
    <p:sldLayoutId id="2147484091" r:id="rId45"/>
    <p:sldLayoutId id="2147484092" r:id="rId46"/>
    <p:sldLayoutId id="2147484093" r:id="rId47"/>
    <p:sldLayoutId id="2147484094" r:id="rId48"/>
    <p:sldLayoutId id="2147484095" r:id="rId49"/>
    <p:sldLayoutId id="2147484096" r:id="rId50"/>
    <p:sldLayoutId id="2147484097" r:id="rId51"/>
    <p:sldLayoutId id="2147484098" r:id="rId52"/>
    <p:sldLayoutId id="2147484099" r:id="rId53"/>
    <p:sldLayoutId id="2147484100" r:id="rId54"/>
    <p:sldLayoutId id="2147484101" r:id="rId55"/>
    <p:sldLayoutId id="2147484102" r:id="rId56"/>
    <p:sldLayoutId id="2147484103" r:id="rId57"/>
    <p:sldLayoutId id="2147484104" r:id="rId58"/>
    <p:sldLayoutId id="2147484105" r:id="rId59"/>
    <p:sldLayoutId id="2147484106" r:id="rId60"/>
    <p:sldLayoutId id="2147484107" r:id="rId61"/>
    <p:sldLayoutId id="2147484108" r:id="rId62"/>
    <p:sldLayoutId id="2147484109" r:id="rId63"/>
    <p:sldLayoutId id="2147484110" r:id="rId64"/>
    <p:sldLayoutId id="2147484111" r:id="rId65"/>
    <p:sldLayoutId id="2147484112" r:id="rId66"/>
    <p:sldLayoutId id="2147484113" r:id="rId67"/>
    <p:sldLayoutId id="2147484114" r:id="rId68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6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68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7" r:id="rId2"/>
    <p:sldLayoutId id="2147484118" r:id="rId3"/>
    <p:sldLayoutId id="2147484119" r:id="rId4"/>
    <p:sldLayoutId id="2147484120" r:id="rId5"/>
    <p:sldLayoutId id="2147484121" r:id="rId6"/>
    <p:sldLayoutId id="2147484122" r:id="rId7"/>
    <p:sldLayoutId id="2147484123" r:id="rId8"/>
    <p:sldLayoutId id="2147484124" r:id="rId9"/>
    <p:sldLayoutId id="2147484125" r:id="rId10"/>
    <p:sldLayoutId id="2147484126" r:id="rId11"/>
    <p:sldLayoutId id="2147484127" r:id="rId12"/>
    <p:sldLayoutId id="2147484128" r:id="rId13"/>
    <p:sldLayoutId id="2147484129" r:id="rId14"/>
    <p:sldLayoutId id="2147484130" r:id="rId15"/>
    <p:sldLayoutId id="2147484131" r:id="rId16"/>
    <p:sldLayoutId id="2147484132" r:id="rId17"/>
    <p:sldLayoutId id="2147484133" r:id="rId18"/>
    <p:sldLayoutId id="2147484134" r:id="rId19"/>
    <p:sldLayoutId id="2147484135" r:id="rId20"/>
    <p:sldLayoutId id="2147484136" r:id="rId21"/>
    <p:sldLayoutId id="2147484137" r:id="rId22"/>
    <p:sldLayoutId id="2147484138" r:id="rId23"/>
    <p:sldLayoutId id="2147484139" r:id="rId24"/>
    <p:sldLayoutId id="2147484140" r:id="rId25"/>
    <p:sldLayoutId id="2147484141" r:id="rId26"/>
    <p:sldLayoutId id="2147484142" r:id="rId27"/>
    <p:sldLayoutId id="2147484143" r:id="rId28"/>
    <p:sldLayoutId id="2147484144" r:id="rId29"/>
    <p:sldLayoutId id="2147484145" r:id="rId30"/>
    <p:sldLayoutId id="2147484146" r:id="rId31"/>
    <p:sldLayoutId id="2147484147" r:id="rId32"/>
    <p:sldLayoutId id="2147484148" r:id="rId33"/>
    <p:sldLayoutId id="2147484149" r:id="rId34"/>
    <p:sldLayoutId id="2147484150" r:id="rId35"/>
    <p:sldLayoutId id="2147484151" r:id="rId36"/>
    <p:sldLayoutId id="2147484152" r:id="rId37"/>
    <p:sldLayoutId id="2147484153" r:id="rId38"/>
    <p:sldLayoutId id="2147484154" r:id="rId39"/>
    <p:sldLayoutId id="2147484155" r:id="rId40"/>
    <p:sldLayoutId id="2147484156" r:id="rId41"/>
    <p:sldLayoutId id="2147484157" r:id="rId42"/>
    <p:sldLayoutId id="2147484158" r:id="rId43"/>
    <p:sldLayoutId id="2147484159" r:id="rId44"/>
    <p:sldLayoutId id="2147484160" r:id="rId45"/>
    <p:sldLayoutId id="2147484161" r:id="rId46"/>
    <p:sldLayoutId id="2147484162" r:id="rId47"/>
    <p:sldLayoutId id="2147484163" r:id="rId48"/>
    <p:sldLayoutId id="2147484164" r:id="rId49"/>
    <p:sldLayoutId id="2147484165" r:id="rId50"/>
    <p:sldLayoutId id="2147484166" r:id="rId51"/>
    <p:sldLayoutId id="2147484167" r:id="rId52"/>
    <p:sldLayoutId id="2147484168" r:id="rId53"/>
    <p:sldLayoutId id="2147484169" r:id="rId54"/>
    <p:sldLayoutId id="2147484170" r:id="rId55"/>
    <p:sldLayoutId id="2147484171" r:id="rId56"/>
    <p:sldLayoutId id="2147484172" r:id="rId57"/>
    <p:sldLayoutId id="2147484173" r:id="rId58"/>
    <p:sldLayoutId id="2147484175" r:id="rId59"/>
    <p:sldLayoutId id="2147484176" r:id="rId60"/>
    <p:sldLayoutId id="2147484177" r:id="rId61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745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0" r:id="rId1"/>
    <p:sldLayoutId id="2147484181" r:id="rId2"/>
    <p:sldLayoutId id="2147484182" r:id="rId3"/>
    <p:sldLayoutId id="2147484183" r:id="rId4"/>
    <p:sldLayoutId id="2147484184" r:id="rId5"/>
    <p:sldLayoutId id="2147484185" r:id="rId6"/>
    <p:sldLayoutId id="2147484186" r:id="rId7"/>
    <p:sldLayoutId id="2147484187" r:id="rId8"/>
    <p:sldLayoutId id="2147484188" r:id="rId9"/>
    <p:sldLayoutId id="2147484189" r:id="rId10"/>
    <p:sldLayoutId id="2147484190" r:id="rId11"/>
    <p:sldLayoutId id="2147484191" r:id="rId12"/>
    <p:sldLayoutId id="2147484192" r:id="rId13"/>
    <p:sldLayoutId id="2147484193" r:id="rId14"/>
    <p:sldLayoutId id="2147484194" r:id="rId15"/>
    <p:sldLayoutId id="2147484195" r:id="rId16"/>
    <p:sldLayoutId id="2147484196" r:id="rId17"/>
    <p:sldLayoutId id="2147484197" r:id="rId18"/>
    <p:sldLayoutId id="2147484198" r:id="rId19"/>
    <p:sldLayoutId id="2147484199" r:id="rId20"/>
    <p:sldLayoutId id="2147484200" r:id="rId21"/>
  </p:sldLayoutIdLst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65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  <p:pic>
        <p:nvPicPr>
          <p:cNvPr id="8" name="Picture 4" descr="Ogilvy - UNA">
            <a:extLst>
              <a:ext uri="{FF2B5EF4-FFF2-40B4-BE49-F238E27FC236}">
                <a16:creationId xmlns:a16="http://schemas.microsoft.com/office/drawing/2014/main" id="{4E37D0CE-CEF9-4F59-B900-AD0C4712F4A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2841" y="6401488"/>
            <a:ext cx="703087" cy="274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4343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2" r:id="rId1"/>
    <p:sldLayoutId id="2147484203" r:id="rId2"/>
    <p:sldLayoutId id="2147484204" r:id="rId3"/>
    <p:sldLayoutId id="2147484205" r:id="rId4"/>
    <p:sldLayoutId id="2147484206" r:id="rId5"/>
    <p:sldLayoutId id="2147484207" r:id="rId6"/>
    <p:sldLayoutId id="2147484208" r:id="rId7"/>
    <p:sldLayoutId id="2147484209" r:id="rId8"/>
    <p:sldLayoutId id="2147484210" r:id="rId9"/>
    <p:sldLayoutId id="2147484211" r:id="rId10"/>
    <p:sldLayoutId id="2147484212" r:id="rId11"/>
    <p:sldLayoutId id="2147484213" r:id="rId12"/>
    <p:sldLayoutId id="2147484214" r:id="rId13"/>
    <p:sldLayoutId id="2147484215" r:id="rId14"/>
    <p:sldLayoutId id="2147484216" r:id="rId15"/>
    <p:sldLayoutId id="2147484217" r:id="rId16"/>
    <p:sldLayoutId id="2147484218" r:id="rId17"/>
    <p:sldLayoutId id="2147484219" r:id="rId18"/>
    <p:sldLayoutId id="2147484220" r:id="rId19"/>
    <p:sldLayoutId id="2147484221" r:id="rId20"/>
    <p:sldLayoutId id="2147484222" r:id="rId21"/>
    <p:sldLayoutId id="2147484223" r:id="rId22"/>
    <p:sldLayoutId id="2147484224" r:id="rId23"/>
    <p:sldLayoutId id="2147484225" r:id="rId24"/>
    <p:sldLayoutId id="2147484226" r:id="rId25"/>
    <p:sldLayoutId id="2147484227" r:id="rId26"/>
    <p:sldLayoutId id="2147484228" r:id="rId27"/>
    <p:sldLayoutId id="2147484229" r:id="rId28"/>
    <p:sldLayoutId id="2147484230" r:id="rId29"/>
    <p:sldLayoutId id="2147484231" r:id="rId30"/>
    <p:sldLayoutId id="2147484232" r:id="rId31"/>
    <p:sldLayoutId id="2147484233" r:id="rId32"/>
    <p:sldLayoutId id="2147484234" r:id="rId33"/>
    <p:sldLayoutId id="2147484235" r:id="rId34"/>
    <p:sldLayoutId id="2147484236" r:id="rId35"/>
    <p:sldLayoutId id="2147484237" r:id="rId36"/>
    <p:sldLayoutId id="2147484238" r:id="rId37"/>
    <p:sldLayoutId id="2147484239" r:id="rId38"/>
    <p:sldLayoutId id="2147484240" r:id="rId39"/>
    <p:sldLayoutId id="2147484241" r:id="rId40"/>
    <p:sldLayoutId id="2147484242" r:id="rId41"/>
    <p:sldLayoutId id="2147484243" r:id="rId42"/>
    <p:sldLayoutId id="2147484244" r:id="rId43"/>
    <p:sldLayoutId id="2147484245" r:id="rId44"/>
    <p:sldLayoutId id="2147484246" r:id="rId45"/>
    <p:sldLayoutId id="2147484247" r:id="rId46"/>
    <p:sldLayoutId id="2147484248" r:id="rId47"/>
    <p:sldLayoutId id="2147484249" r:id="rId48"/>
    <p:sldLayoutId id="2147484250" r:id="rId49"/>
    <p:sldLayoutId id="2147484251" r:id="rId50"/>
    <p:sldLayoutId id="2147484252" r:id="rId51"/>
    <p:sldLayoutId id="2147484253" r:id="rId52"/>
    <p:sldLayoutId id="2147484254" r:id="rId53"/>
    <p:sldLayoutId id="2147484255" r:id="rId54"/>
    <p:sldLayoutId id="2147484256" r:id="rId55"/>
    <p:sldLayoutId id="2147484257" r:id="rId56"/>
    <p:sldLayoutId id="2147484258" r:id="rId57"/>
    <p:sldLayoutId id="2147484259" r:id="rId58"/>
    <p:sldLayoutId id="2147484260" r:id="rId59"/>
    <p:sldLayoutId id="2147484261" r:id="rId60"/>
    <p:sldLayoutId id="2147484262" r:id="rId61"/>
    <p:sldLayoutId id="2147484263" r:id="rId62"/>
    <p:sldLayoutId id="2147484264" r:id="rId63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69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  <p:pic>
        <p:nvPicPr>
          <p:cNvPr id="8" name="Picture 4" descr="Ogilvy - UNA">
            <a:extLst>
              <a:ext uri="{FF2B5EF4-FFF2-40B4-BE49-F238E27FC236}">
                <a16:creationId xmlns:a16="http://schemas.microsoft.com/office/drawing/2014/main" id="{51222944-CE47-4177-82EE-ABE1D8B119F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1312" y="6362299"/>
            <a:ext cx="844616" cy="329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0282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7" r:id="rId1"/>
    <p:sldLayoutId id="2147484268" r:id="rId2"/>
    <p:sldLayoutId id="2147484269" r:id="rId3"/>
    <p:sldLayoutId id="2147484270" r:id="rId4"/>
    <p:sldLayoutId id="2147484271" r:id="rId5"/>
    <p:sldLayoutId id="2147484272" r:id="rId6"/>
    <p:sldLayoutId id="2147484273" r:id="rId7"/>
    <p:sldLayoutId id="2147484274" r:id="rId8"/>
    <p:sldLayoutId id="2147484275" r:id="rId9"/>
    <p:sldLayoutId id="2147484276" r:id="rId10"/>
    <p:sldLayoutId id="2147484277" r:id="rId11"/>
    <p:sldLayoutId id="2147484278" r:id="rId12"/>
    <p:sldLayoutId id="2147484279" r:id="rId13"/>
    <p:sldLayoutId id="2147484280" r:id="rId14"/>
    <p:sldLayoutId id="2147484281" r:id="rId15"/>
    <p:sldLayoutId id="2147484282" r:id="rId16"/>
    <p:sldLayoutId id="2147484283" r:id="rId17"/>
    <p:sldLayoutId id="2147484284" r:id="rId18"/>
    <p:sldLayoutId id="2147484285" r:id="rId19"/>
    <p:sldLayoutId id="2147484286" r:id="rId20"/>
    <p:sldLayoutId id="2147484287" r:id="rId21"/>
    <p:sldLayoutId id="2147484288" r:id="rId22"/>
    <p:sldLayoutId id="2147484289" r:id="rId23"/>
    <p:sldLayoutId id="2147484290" r:id="rId24"/>
    <p:sldLayoutId id="2147484291" r:id="rId25"/>
    <p:sldLayoutId id="2147484292" r:id="rId26"/>
    <p:sldLayoutId id="2147484293" r:id="rId27"/>
    <p:sldLayoutId id="2147484294" r:id="rId28"/>
    <p:sldLayoutId id="2147484295" r:id="rId29"/>
    <p:sldLayoutId id="2147484296" r:id="rId30"/>
    <p:sldLayoutId id="2147484297" r:id="rId31"/>
    <p:sldLayoutId id="2147484298" r:id="rId32"/>
    <p:sldLayoutId id="2147484299" r:id="rId33"/>
    <p:sldLayoutId id="2147484300" r:id="rId34"/>
    <p:sldLayoutId id="2147484301" r:id="rId35"/>
    <p:sldLayoutId id="2147484302" r:id="rId36"/>
    <p:sldLayoutId id="2147484303" r:id="rId37"/>
    <p:sldLayoutId id="2147484304" r:id="rId38"/>
    <p:sldLayoutId id="2147484305" r:id="rId39"/>
    <p:sldLayoutId id="2147484306" r:id="rId40"/>
    <p:sldLayoutId id="2147484307" r:id="rId41"/>
    <p:sldLayoutId id="2147484308" r:id="rId42"/>
    <p:sldLayoutId id="2147484309" r:id="rId43"/>
    <p:sldLayoutId id="2147484310" r:id="rId44"/>
    <p:sldLayoutId id="2147484311" r:id="rId45"/>
    <p:sldLayoutId id="2147484312" r:id="rId46"/>
    <p:sldLayoutId id="2147484313" r:id="rId47"/>
    <p:sldLayoutId id="2147484314" r:id="rId48"/>
    <p:sldLayoutId id="2147484315" r:id="rId49"/>
    <p:sldLayoutId id="2147484316" r:id="rId50"/>
    <p:sldLayoutId id="2147484317" r:id="rId51"/>
    <p:sldLayoutId id="2147484318" r:id="rId52"/>
    <p:sldLayoutId id="2147484319" r:id="rId53"/>
    <p:sldLayoutId id="2147484320" r:id="rId54"/>
    <p:sldLayoutId id="2147484321" r:id="rId55"/>
    <p:sldLayoutId id="2147484322" r:id="rId56"/>
    <p:sldLayoutId id="2147484323" r:id="rId57"/>
    <p:sldLayoutId id="2147484324" r:id="rId58"/>
    <p:sldLayoutId id="2147484325" r:id="rId59"/>
    <p:sldLayoutId id="2147484326" r:id="rId60"/>
    <p:sldLayoutId id="2147484327" r:id="rId61"/>
    <p:sldLayoutId id="2147484328" r:id="rId62"/>
    <p:sldLayoutId id="2147484329" r:id="rId63"/>
    <p:sldLayoutId id="2147484330" r:id="rId64"/>
    <p:sldLayoutId id="2147484331" r:id="rId65"/>
    <p:sldLayoutId id="2147484332" r:id="rId66"/>
    <p:sldLayoutId id="2147484333" r:id="rId67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386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3" r:id="rId1"/>
    <p:sldLayoutId id="2147484404" r:id="rId2"/>
    <p:sldLayoutId id="2147484405" r:id="rId3"/>
    <p:sldLayoutId id="2147484406" r:id="rId4"/>
    <p:sldLayoutId id="2147484407" r:id="rId5"/>
    <p:sldLayoutId id="2147484408" r:id="rId6"/>
    <p:sldLayoutId id="2147484409" r:id="rId7"/>
    <p:sldLayoutId id="2147484410" r:id="rId8"/>
    <p:sldLayoutId id="2147484411" r:id="rId9"/>
    <p:sldLayoutId id="2147484412" r:id="rId10"/>
    <p:sldLayoutId id="2147484413" r:id="rId11"/>
    <p:sldLayoutId id="2147484414" r:id="rId12"/>
    <p:sldLayoutId id="2147484415" r:id="rId13"/>
    <p:sldLayoutId id="2147484416" r:id="rId14"/>
    <p:sldLayoutId id="2147484417" r:id="rId15"/>
    <p:sldLayoutId id="2147484418" r:id="rId16"/>
    <p:sldLayoutId id="2147484419" r:id="rId17"/>
    <p:sldLayoutId id="2147484420" r:id="rId18"/>
    <p:sldLayoutId id="2147484421" r:id="rId19"/>
    <p:sldLayoutId id="2147484422" r:id="rId20"/>
    <p:sldLayoutId id="2147484424" r:id="rId21"/>
    <p:sldLayoutId id="2147484425" r:id="rId22"/>
  </p:sldLayoutIdLst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71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  <p:pic>
        <p:nvPicPr>
          <p:cNvPr id="8" name="Picture 4" descr="Ogilvy - UNA">
            <a:extLst>
              <a:ext uri="{FF2B5EF4-FFF2-40B4-BE49-F238E27FC236}">
                <a16:creationId xmlns:a16="http://schemas.microsoft.com/office/drawing/2014/main" id="{3301E543-2567-47E8-AAD4-F162E4EFE4F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905" y="6392847"/>
            <a:ext cx="748747" cy="29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6162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7" r:id="rId1"/>
    <p:sldLayoutId id="2147484428" r:id="rId2"/>
    <p:sldLayoutId id="2147484429" r:id="rId3"/>
    <p:sldLayoutId id="2147484430" r:id="rId4"/>
    <p:sldLayoutId id="2147484431" r:id="rId5"/>
    <p:sldLayoutId id="2147484432" r:id="rId6"/>
    <p:sldLayoutId id="2147484433" r:id="rId7"/>
    <p:sldLayoutId id="2147484434" r:id="rId8"/>
    <p:sldLayoutId id="2147484435" r:id="rId9"/>
    <p:sldLayoutId id="2147484436" r:id="rId10"/>
    <p:sldLayoutId id="2147484437" r:id="rId11"/>
    <p:sldLayoutId id="2147484438" r:id="rId12"/>
    <p:sldLayoutId id="2147484439" r:id="rId13"/>
    <p:sldLayoutId id="2147484440" r:id="rId14"/>
    <p:sldLayoutId id="2147484441" r:id="rId15"/>
    <p:sldLayoutId id="2147484442" r:id="rId16"/>
    <p:sldLayoutId id="2147484443" r:id="rId17"/>
    <p:sldLayoutId id="2147484444" r:id="rId18"/>
    <p:sldLayoutId id="2147484445" r:id="rId19"/>
    <p:sldLayoutId id="2147484446" r:id="rId20"/>
    <p:sldLayoutId id="2147484447" r:id="rId21"/>
    <p:sldLayoutId id="2147484448" r:id="rId22"/>
    <p:sldLayoutId id="2147484449" r:id="rId23"/>
    <p:sldLayoutId id="2147484450" r:id="rId24"/>
    <p:sldLayoutId id="2147484451" r:id="rId25"/>
    <p:sldLayoutId id="2147484452" r:id="rId26"/>
    <p:sldLayoutId id="2147484453" r:id="rId27"/>
    <p:sldLayoutId id="2147484454" r:id="rId28"/>
    <p:sldLayoutId id="2147484455" r:id="rId29"/>
    <p:sldLayoutId id="2147484456" r:id="rId30"/>
    <p:sldLayoutId id="2147484457" r:id="rId31"/>
    <p:sldLayoutId id="2147484458" r:id="rId32"/>
    <p:sldLayoutId id="2147484459" r:id="rId33"/>
    <p:sldLayoutId id="2147484460" r:id="rId34"/>
    <p:sldLayoutId id="2147484461" r:id="rId35"/>
    <p:sldLayoutId id="2147484462" r:id="rId36"/>
    <p:sldLayoutId id="2147484463" r:id="rId37"/>
    <p:sldLayoutId id="2147484464" r:id="rId38"/>
    <p:sldLayoutId id="2147484465" r:id="rId39"/>
    <p:sldLayoutId id="2147484466" r:id="rId40"/>
    <p:sldLayoutId id="2147484467" r:id="rId41"/>
    <p:sldLayoutId id="2147484468" r:id="rId42"/>
    <p:sldLayoutId id="2147484469" r:id="rId43"/>
    <p:sldLayoutId id="2147484470" r:id="rId44"/>
    <p:sldLayoutId id="2147484471" r:id="rId45"/>
    <p:sldLayoutId id="2147484472" r:id="rId46"/>
    <p:sldLayoutId id="2147484473" r:id="rId47"/>
    <p:sldLayoutId id="2147484474" r:id="rId48"/>
    <p:sldLayoutId id="2147484475" r:id="rId49"/>
    <p:sldLayoutId id="2147484476" r:id="rId50"/>
    <p:sldLayoutId id="2147484477" r:id="rId51"/>
    <p:sldLayoutId id="2147484478" r:id="rId52"/>
    <p:sldLayoutId id="2147484479" r:id="rId53"/>
    <p:sldLayoutId id="2147484480" r:id="rId54"/>
    <p:sldLayoutId id="2147484481" r:id="rId55"/>
    <p:sldLayoutId id="2147484482" r:id="rId56"/>
    <p:sldLayoutId id="2147484483" r:id="rId57"/>
    <p:sldLayoutId id="2147484484" r:id="rId58"/>
    <p:sldLayoutId id="2147484485" r:id="rId59"/>
    <p:sldLayoutId id="2147484486" r:id="rId60"/>
    <p:sldLayoutId id="2147484487" r:id="rId61"/>
    <p:sldLayoutId id="2147484488" r:id="rId62"/>
    <p:sldLayoutId id="2147484489" r:id="rId63"/>
    <p:sldLayoutId id="2147484490" r:id="rId64"/>
    <p:sldLayoutId id="2147484491" r:id="rId65"/>
    <p:sldLayoutId id="2147484492" r:id="rId66"/>
    <p:sldLayoutId id="2147484493" r:id="rId67"/>
    <p:sldLayoutId id="2147484494" r:id="rId68"/>
    <p:sldLayoutId id="2147484495" r:id="rId69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037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8" r:id="rId1"/>
    <p:sldLayoutId id="2147484569" r:id="rId2"/>
    <p:sldLayoutId id="2147484570" r:id="rId3"/>
    <p:sldLayoutId id="2147484571" r:id="rId4"/>
    <p:sldLayoutId id="2147484572" r:id="rId5"/>
    <p:sldLayoutId id="2147484573" r:id="rId6"/>
    <p:sldLayoutId id="2147484574" r:id="rId7"/>
    <p:sldLayoutId id="2147484575" r:id="rId8"/>
    <p:sldLayoutId id="2147484576" r:id="rId9"/>
    <p:sldLayoutId id="2147484577" r:id="rId10"/>
    <p:sldLayoutId id="2147484578" r:id="rId11"/>
    <p:sldLayoutId id="2147484579" r:id="rId12"/>
    <p:sldLayoutId id="2147484580" r:id="rId13"/>
    <p:sldLayoutId id="2147484581" r:id="rId14"/>
    <p:sldLayoutId id="2147484582" r:id="rId15"/>
    <p:sldLayoutId id="2147484583" r:id="rId16"/>
    <p:sldLayoutId id="2147484584" r:id="rId17"/>
    <p:sldLayoutId id="2147484585" r:id="rId18"/>
    <p:sldLayoutId id="2147484586" r:id="rId19"/>
    <p:sldLayoutId id="2147484587" r:id="rId20"/>
    <p:sldLayoutId id="2147484588" r:id="rId21"/>
    <p:sldLayoutId id="2147484589" r:id="rId22"/>
    <p:sldLayoutId id="2147484590" r:id="rId23"/>
  </p:sldLayoutIdLst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69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041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2" r:id="rId1"/>
    <p:sldLayoutId id="2147484593" r:id="rId2"/>
    <p:sldLayoutId id="2147484594" r:id="rId3"/>
    <p:sldLayoutId id="2147484595" r:id="rId4"/>
    <p:sldLayoutId id="2147484596" r:id="rId5"/>
    <p:sldLayoutId id="2147484597" r:id="rId6"/>
    <p:sldLayoutId id="2147484598" r:id="rId7"/>
    <p:sldLayoutId id="2147484599" r:id="rId8"/>
    <p:sldLayoutId id="2147484600" r:id="rId9"/>
    <p:sldLayoutId id="2147484601" r:id="rId10"/>
    <p:sldLayoutId id="2147484602" r:id="rId11"/>
    <p:sldLayoutId id="2147484603" r:id="rId12"/>
    <p:sldLayoutId id="2147484604" r:id="rId13"/>
    <p:sldLayoutId id="2147484605" r:id="rId14"/>
    <p:sldLayoutId id="2147484606" r:id="rId15"/>
    <p:sldLayoutId id="2147484607" r:id="rId16"/>
    <p:sldLayoutId id="2147484608" r:id="rId17"/>
    <p:sldLayoutId id="2147484609" r:id="rId18"/>
    <p:sldLayoutId id="2147484610" r:id="rId19"/>
    <p:sldLayoutId id="2147484611" r:id="rId20"/>
    <p:sldLayoutId id="2147484612" r:id="rId21"/>
    <p:sldLayoutId id="2147484613" r:id="rId22"/>
    <p:sldLayoutId id="2147484614" r:id="rId23"/>
    <p:sldLayoutId id="2147484615" r:id="rId24"/>
    <p:sldLayoutId id="2147484616" r:id="rId25"/>
    <p:sldLayoutId id="2147484617" r:id="rId26"/>
    <p:sldLayoutId id="2147484618" r:id="rId27"/>
    <p:sldLayoutId id="2147484619" r:id="rId28"/>
    <p:sldLayoutId id="2147484620" r:id="rId29"/>
    <p:sldLayoutId id="2147484621" r:id="rId30"/>
    <p:sldLayoutId id="2147484622" r:id="rId31"/>
    <p:sldLayoutId id="2147484623" r:id="rId32"/>
    <p:sldLayoutId id="2147484624" r:id="rId33"/>
    <p:sldLayoutId id="2147484625" r:id="rId34"/>
    <p:sldLayoutId id="2147484626" r:id="rId35"/>
    <p:sldLayoutId id="2147484627" r:id="rId36"/>
    <p:sldLayoutId id="2147484628" r:id="rId37"/>
    <p:sldLayoutId id="2147484629" r:id="rId38"/>
    <p:sldLayoutId id="2147484630" r:id="rId39"/>
    <p:sldLayoutId id="2147484631" r:id="rId40"/>
    <p:sldLayoutId id="2147484632" r:id="rId41"/>
    <p:sldLayoutId id="2147484633" r:id="rId42"/>
    <p:sldLayoutId id="2147484634" r:id="rId43"/>
    <p:sldLayoutId id="2147484635" r:id="rId44"/>
    <p:sldLayoutId id="2147484636" r:id="rId45"/>
    <p:sldLayoutId id="2147484637" r:id="rId46"/>
    <p:sldLayoutId id="2147484638" r:id="rId47"/>
    <p:sldLayoutId id="2147484639" r:id="rId48"/>
    <p:sldLayoutId id="2147484640" r:id="rId49"/>
    <p:sldLayoutId id="2147484641" r:id="rId50"/>
    <p:sldLayoutId id="2147484642" r:id="rId51"/>
    <p:sldLayoutId id="2147484643" r:id="rId52"/>
    <p:sldLayoutId id="2147484644" r:id="rId53"/>
    <p:sldLayoutId id="2147484645" r:id="rId54"/>
    <p:sldLayoutId id="2147484646" r:id="rId55"/>
    <p:sldLayoutId id="2147484647" r:id="rId56"/>
    <p:sldLayoutId id="2147484648" r:id="rId57"/>
    <p:sldLayoutId id="2147484649" r:id="rId58"/>
    <p:sldLayoutId id="2147484650" r:id="rId59"/>
    <p:sldLayoutId id="2147484651" r:id="rId60"/>
    <p:sldLayoutId id="2147484652" r:id="rId61"/>
    <p:sldLayoutId id="2147484653" r:id="rId62"/>
    <p:sldLayoutId id="2147484654" r:id="rId63"/>
    <p:sldLayoutId id="2147484655" r:id="rId64"/>
    <p:sldLayoutId id="2147484656" r:id="rId65"/>
    <p:sldLayoutId id="2147484657" r:id="rId66"/>
    <p:sldLayoutId id="2147484658" r:id="rId67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169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281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66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513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4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4512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726" r:id="rId18"/>
    <p:sldLayoutId id="2147483727" r:id="rId19"/>
    <p:sldLayoutId id="2147483728" r:id="rId20"/>
    <p:sldLayoutId id="2147483729" r:id="rId21"/>
    <p:sldLayoutId id="2147483730" r:id="rId22"/>
    <p:sldLayoutId id="2147483731" r:id="rId23"/>
    <p:sldLayoutId id="2147483732" r:id="rId24"/>
    <p:sldLayoutId id="2147483733" r:id="rId25"/>
    <p:sldLayoutId id="2147483734" r:id="rId26"/>
    <p:sldLayoutId id="2147483735" r:id="rId27"/>
    <p:sldLayoutId id="2147483736" r:id="rId28"/>
    <p:sldLayoutId id="2147483737" r:id="rId29"/>
    <p:sldLayoutId id="2147483738" r:id="rId30"/>
    <p:sldLayoutId id="2147483739" r:id="rId31"/>
    <p:sldLayoutId id="2147483740" r:id="rId32"/>
    <p:sldLayoutId id="2147483741" r:id="rId33"/>
    <p:sldLayoutId id="2147483742" r:id="rId34"/>
    <p:sldLayoutId id="2147483743" r:id="rId35"/>
    <p:sldLayoutId id="2147483744" r:id="rId36"/>
    <p:sldLayoutId id="2147483745" r:id="rId37"/>
    <p:sldLayoutId id="2147483746" r:id="rId38"/>
    <p:sldLayoutId id="2147483747" r:id="rId39"/>
    <p:sldLayoutId id="2147483748" r:id="rId40"/>
    <p:sldLayoutId id="2147483749" r:id="rId41"/>
    <p:sldLayoutId id="2147483750" r:id="rId42"/>
    <p:sldLayoutId id="2147483751" r:id="rId43"/>
    <p:sldLayoutId id="2147483752" r:id="rId44"/>
    <p:sldLayoutId id="2147483753" r:id="rId45"/>
    <p:sldLayoutId id="2147483754" r:id="rId46"/>
    <p:sldLayoutId id="2147483755" r:id="rId47"/>
    <p:sldLayoutId id="2147483756" r:id="rId48"/>
    <p:sldLayoutId id="2147483757" r:id="rId49"/>
    <p:sldLayoutId id="2147483758" r:id="rId50"/>
    <p:sldLayoutId id="2147483759" r:id="rId51"/>
    <p:sldLayoutId id="2147483760" r:id="rId52"/>
    <p:sldLayoutId id="2147483761" r:id="rId53"/>
    <p:sldLayoutId id="2147483762" r:id="rId54"/>
    <p:sldLayoutId id="2147483763" r:id="rId55"/>
    <p:sldLayoutId id="2147483764" r:id="rId56"/>
    <p:sldLayoutId id="2147483765" r:id="rId57"/>
    <p:sldLayoutId id="2147483766" r:id="rId58"/>
    <p:sldLayoutId id="2147483768" r:id="rId59"/>
    <p:sldLayoutId id="2147483770" r:id="rId60"/>
    <p:sldLayoutId id="2147483771" r:id="rId61"/>
    <p:sldLayoutId id="2147483775" r:id="rId62"/>
    <p:sldLayoutId id="2147483776" r:id="rId63"/>
    <p:sldLayoutId id="2147484035" r:id="rId64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58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91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  <p:sldLayoutId id="2147483790" r:id="rId13"/>
    <p:sldLayoutId id="2147483791" r:id="rId14"/>
    <p:sldLayoutId id="2147483792" r:id="rId15"/>
    <p:sldLayoutId id="2147483793" r:id="rId16"/>
    <p:sldLayoutId id="2147483794" r:id="rId17"/>
    <p:sldLayoutId id="2147483795" r:id="rId18"/>
    <p:sldLayoutId id="2147483796" r:id="rId19"/>
    <p:sldLayoutId id="2147483797" r:id="rId20"/>
    <p:sldLayoutId id="2147483798" r:id="rId21"/>
    <p:sldLayoutId id="2147483799" r:id="rId22"/>
    <p:sldLayoutId id="2147483800" r:id="rId23"/>
    <p:sldLayoutId id="2147483801" r:id="rId24"/>
    <p:sldLayoutId id="2147483802" r:id="rId25"/>
    <p:sldLayoutId id="2147483803" r:id="rId26"/>
    <p:sldLayoutId id="2147483804" r:id="rId27"/>
    <p:sldLayoutId id="2147483805" r:id="rId28"/>
    <p:sldLayoutId id="2147483806" r:id="rId29"/>
    <p:sldLayoutId id="2147483807" r:id="rId30"/>
    <p:sldLayoutId id="2147483808" r:id="rId31"/>
    <p:sldLayoutId id="2147483809" r:id="rId32"/>
    <p:sldLayoutId id="2147483810" r:id="rId33"/>
    <p:sldLayoutId id="2147483811" r:id="rId34"/>
    <p:sldLayoutId id="2147483812" r:id="rId35"/>
    <p:sldLayoutId id="2147483813" r:id="rId36"/>
    <p:sldLayoutId id="2147483814" r:id="rId37"/>
    <p:sldLayoutId id="2147483815" r:id="rId38"/>
    <p:sldLayoutId id="2147483816" r:id="rId39"/>
    <p:sldLayoutId id="2147483817" r:id="rId40"/>
    <p:sldLayoutId id="2147483818" r:id="rId41"/>
    <p:sldLayoutId id="2147483819" r:id="rId42"/>
    <p:sldLayoutId id="2147483820" r:id="rId43"/>
    <p:sldLayoutId id="2147483821" r:id="rId44"/>
    <p:sldLayoutId id="2147483822" r:id="rId45"/>
    <p:sldLayoutId id="2147483823" r:id="rId46"/>
    <p:sldLayoutId id="2147483824" r:id="rId47"/>
    <p:sldLayoutId id="2147483825" r:id="rId48"/>
    <p:sldLayoutId id="2147483826" r:id="rId49"/>
    <p:sldLayoutId id="2147483827" r:id="rId50"/>
    <p:sldLayoutId id="2147483828" r:id="rId51"/>
    <p:sldLayoutId id="2147483829" r:id="rId52"/>
    <p:sldLayoutId id="2147483830" r:id="rId53"/>
    <p:sldLayoutId id="2147483831" r:id="rId54"/>
    <p:sldLayoutId id="2147483832" r:id="rId55"/>
    <p:sldLayoutId id="2147483833" r:id="rId56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1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1"/>
            <a:ext cx="10965600" cy="11927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7" y="1802341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5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BD2AA0BE-0C0E-F642-AB39-96F9643DA115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936697" y="6327669"/>
            <a:ext cx="318609" cy="318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828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</p:sldLayoutIdLst>
  <p:hf hdr="0" dt="0"/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tabLst>
          <a:tab pos="1777956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accent6"/>
          </a:solidFill>
          <a:latin typeface="+mn-lt"/>
          <a:ea typeface="+mn-ea"/>
          <a:cs typeface="+mn-cs"/>
        </a:defRPr>
      </a:lvl2pPr>
      <a:lvl3pPr marL="293681" indent="-285744" algn="l" defTabSz="914377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4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08B8E3A7-8156-2674-4383-E2F8B5FFEE01}"/>
              </a:ext>
            </a:extLst>
          </p:cNvPr>
          <p:cNvPicPr>
            <a:picLocks noChangeAspect="1"/>
          </p:cNvPicPr>
          <p:nvPr/>
        </p:nvPicPr>
        <p:blipFill>
          <a:blip r:embed="rId58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085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  <p:sldLayoutId id="2147483867" r:id="rId13"/>
    <p:sldLayoutId id="2147483868" r:id="rId14"/>
    <p:sldLayoutId id="2147483869" r:id="rId15"/>
    <p:sldLayoutId id="2147483870" r:id="rId16"/>
    <p:sldLayoutId id="2147483871" r:id="rId17"/>
    <p:sldLayoutId id="2147483872" r:id="rId18"/>
    <p:sldLayoutId id="2147483873" r:id="rId19"/>
    <p:sldLayoutId id="2147483874" r:id="rId20"/>
    <p:sldLayoutId id="2147483875" r:id="rId21"/>
    <p:sldLayoutId id="2147483876" r:id="rId22"/>
    <p:sldLayoutId id="2147483877" r:id="rId23"/>
    <p:sldLayoutId id="2147483878" r:id="rId24"/>
    <p:sldLayoutId id="2147483879" r:id="rId25"/>
    <p:sldLayoutId id="2147483880" r:id="rId26"/>
    <p:sldLayoutId id="2147483881" r:id="rId27"/>
    <p:sldLayoutId id="2147483882" r:id="rId28"/>
    <p:sldLayoutId id="2147483883" r:id="rId29"/>
    <p:sldLayoutId id="2147483884" r:id="rId30"/>
    <p:sldLayoutId id="2147483885" r:id="rId31"/>
    <p:sldLayoutId id="2147483886" r:id="rId32"/>
    <p:sldLayoutId id="2147483887" r:id="rId33"/>
    <p:sldLayoutId id="2147483888" r:id="rId34"/>
    <p:sldLayoutId id="2147483889" r:id="rId35"/>
    <p:sldLayoutId id="2147483890" r:id="rId36"/>
    <p:sldLayoutId id="2147483891" r:id="rId37"/>
    <p:sldLayoutId id="2147483892" r:id="rId38"/>
    <p:sldLayoutId id="2147483893" r:id="rId39"/>
    <p:sldLayoutId id="2147483894" r:id="rId40"/>
    <p:sldLayoutId id="2147483895" r:id="rId41"/>
    <p:sldLayoutId id="2147483896" r:id="rId42"/>
    <p:sldLayoutId id="2147483897" r:id="rId43"/>
    <p:sldLayoutId id="2147483898" r:id="rId44"/>
    <p:sldLayoutId id="2147483899" r:id="rId45"/>
    <p:sldLayoutId id="2147483900" r:id="rId46"/>
    <p:sldLayoutId id="2147483901" r:id="rId47"/>
    <p:sldLayoutId id="2147483902" r:id="rId48"/>
    <p:sldLayoutId id="2147483903" r:id="rId49"/>
    <p:sldLayoutId id="2147483904" r:id="rId50"/>
    <p:sldLayoutId id="2147483905" r:id="rId51"/>
    <p:sldLayoutId id="2147483906" r:id="rId52"/>
    <p:sldLayoutId id="2147483907" r:id="rId53"/>
    <p:sldLayoutId id="2147483908" r:id="rId54"/>
    <p:sldLayoutId id="2147483909" r:id="rId55"/>
    <p:sldLayoutId id="2147483910" r:id="rId56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59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069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14" r:id="rId3"/>
    <p:sldLayoutId id="2147483915" r:id="rId4"/>
    <p:sldLayoutId id="2147483916" r:id="rId5"/>
    <p:sldLayoutId id="2147483917" r:id="rId6"/>
    <p:sldLayoutId id="2147483918" r:id="rId7"/>
    <p:sldLayoutId id="2147483919" r:id="rId8"/>
    <p:sldLayoutId id="2147483920" r:id="rId9"/>
    <p:sldLayoutId id="2147483921" r:id="rId10"/>
    <p:sldLayoutId id="2147483922" r:id="rId11"/>
    <p:sldLayoutId id="2147483923" r:id="rId12"/>
    <p:sldLayoutId id="2147483924" r:id="rId13"/>
    <p:sldLayoutId id="2147483925" r:id="rId14"/>
    <p:sldLayoutId id="2147483926" r:id="rId15"/>
    <p:sldLayoutId id="2147483927" r:id="rId16"/>
    <p:sldLayoutId id="2147483928" r:id="rId17"/>
    <p:sldLayoutId id="2147483929" r:id="rId18"/>
    <p:sldLayoutId id="2147483930" r:id="rId19"/>
    <p:sldLayoutId id="2147483931" r:id="rId20"/>
    <p:sldLayoutId id="2147483932" r:id="rId21"/>
    <p:sldLayoutId id="2147483933" r:id="rId22"/>
    <p:sldLayoutId id="2147483934" r:id="rId23"/>
    <p:sldLayoutId id="2147483935" r:id="rId24"/>
    <p:sldLayoutId id="2147483936" r:id="rId25"/>
    <p:sldLayoutId id="2147483937" r:id="rId26"/>
    <p:sldLayoutId id="2147483938" r:id="rId27"/>
    <p:sldLayoutId id="2147483939" r:id="rId28"/>
    <p:sldLayoutId id="2147483940" r:id="rId29"/>
    <p:sldLayoutId id="2147483941" r:id="rId30"/>
    <p:sldLayoutId id="2147483942" r:id="rId31"/>
    <p:sldLayoutId id="2147483943" r:id="rId32"/>
    <p:sldLayoutId id="2147483944" r:id="rId33"/>
    <p:sldLayoutId id="2147483945" r:id="rId34"/>
    <p:sldLayoutId id="2147483946" r:id="rId35"/>
    <p:sldLayoutId id="2147483947" r:id="rId36"/>
    <p:sldLayoutId id="2147483948" r:id="rId37"/>
    <p:sldLayoutId id="2147483949" r:id="rId38"/>
    <p:sldLayoutId id="2147483950" r:id="rId39"/>
    <p:sldLayoutId id="2147483951" r:id="rId40"/>
    <p:sldLayoutId id="2147483952" r:id="rId41"/>
    <p:sldLayoutId id="2147483953" r:id="rId42"/>
    <p:sldLayoutId id="2147483954" r:id="rId43"/>
    <p:sldLayoutId id="2147483955" r:id="rId44"/>
    <p:sldLayoutId id="2147483956" r:id="rId45"/>
    <p:sldLayoutId id="2147483957" r:id="rId46"/>
    <p:sldLayoutId id="2147483958" r:id="rId47"/>
    <p:sldLayoutId id="2147483959" r:id="rId48"/>
    <p:sldLayoutId id="2147483960" r:id="rId49"/>
    <p:sldLayoutId id="2147483961" r:id="rId50"/>
    <p:sldLayoutId id="2147483962" r:id="rId51"/>
    <p:sldLayoutId id="2147483963" r:id="rId52"/>
    <p:sldLayoutId id="2147483964" r:id="rId53"/>
    <p:sldLayoutId id="2147483965" r:id="rId54"/>
    <p:sldLayoutId id="2147483966" r:id="rId55"/>
    <p:sldLayoutId id="2147483967" r:id="rId56"/>
    <p:sldLayoutId id="2147483968" r:id="rId57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AAEED16-C424-F848-A022-D919E32FEDB0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077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  <p:sldLayoutId id="2147483981" r:id="rId12"/>
    <p:sldLayoutId id="2147483982" r:id="rId13"/>
    <p:sldLayoutId id="2147483983" r:id="rId14"/>
    <p:sldLayoutId id="2147483984" r:id="rId15"/>
    <p:sldLayoutId id="2147483985" r:id="rId16"/>
    <p:sldLayoutId id="2147483986" r:id="rId17"/>
    <p:sldLayoutId id="2147483987" r:id="rId18"/>
    <p:sldLayoutId id="2147483988" r:id="rId19"/>
    <p:sldLayoutId id="2147483989" r:id="rId20"/>
    <p:sldLayoutId id="2147483990" r:id="rId21"/>
    <p:sldLayoutId id="2147483991" r:id="rId22"/>
    <p:sldLayoutId id="2147483992" r:id="rId23"/>
    <p:sldLayoutId id="2147483993" r:id="rId24"/>
    <p:sldLayoutId id="2147483994" r:id="rId25"/>
    <p:sldLayoutId id="2147483995" r:id="rId26"/>
    <p:sldLayoutId id="2147483996" r:id="rId27"/>
    <p:sldLayoutId id="2147483997" r:id="rId28"/>
    <p:sldLayoutId id="2147483998" r:id="rId29"/>
    <p:sldLayoutId id="2147483999" r:id="rId30"/>
    <p:sldLayoutId id="2147484000" r:id="rId31"/>
    <p:sldLayoutId id="2147484001" r:id="rId32"/>
    <p:sldLayoutId id="2147484002" r:id="rId33"/>
    <p:sldLayoutId id="2147484003" r:id="rId34"/>
    <p:sldLayoutId id="2147484004" r:id="rId35"/>
    <p:sldLayoutId id="2147484005" r:id="rId36"/>
    <p:sldLayoutId id="2147484006" r:id="rId37"/>
    <p:sldLayoutId id="2147484007" r:id="rId38"/>
    <p:sldLayoutId id="2147484008" r:id="rId39"/>
    <p:sldLayoutId id="2147484009" r:id="rId40"/>
    <p:sldLayoutId id="2147484010" r:id="rId41"/>
    <p:sldLayoutId id="2147484011" r:id="rId42"/>
    <p:sldLayoutId id="2147484012" r:id="rId43"/>
    <p:sldLayoutId id="2147484013" r:id="rId44"/>
    <p:sldLayoutId id="2147484014" r:id="rId45"/>
    <p:sldLayoutId id="2147484015" r:id="rId46"/>
    <p:sldLayoutId id="2147484016" r:id="rId47"/>
    <p:sldLayoutId id="2147484017" r:id="rId48"/>
    <p:sldLayoutId id="2147484018" r:id="rId49"/>
    <p:sldLayoutId id="2147484019" r:id="rId50"/>
    <p:sldLayoutId id="2147484020" r:id="rId51"/>
    <p:sldLayoutId id="2147484021" r:id="rId52"/>
    <p:sldLayoutId id="2147484022" r:id="rId53"/>
    <p:sldLayoutId id="2147484023" r:id="rId54"/>
    <p:sldLayoutId id="2147484024" r:id="rId55"/>
    <p:sldLayoutId id="2147484025" r:id="rId56"/>
    <p:sldLayoutId id="2147484026" r:id="rId57"/>
    <p:sldLayoutId id="2147484027" r:id="rId58"/>
    <p:sldLayoutId id="2147484028" r:id="rId59"/>
    <p:sldLayoutId id="2147484029" r:id="rId60"/>
    <p:sldLayoutId id="2147484030" r:id="rId61"/>
    <p:sldLayoutId id="2147484031" r:id="rId62"/>
    <p:sldLayoutId id="2147484032" r:id="rId63"/>
    <p:sldLayoutId id="2147484033" r:id="rId6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accent6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4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7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7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9.xml"/><Relationship Id="rId6" Type="http://schemas.openxmlformats.org/officeDocument/2006/relationships/chart" Target="../charts/chart2.xml"/><Relationship Id="rId5" Type="http://schemas.openxmlformats.org/officeDocument/2006/relationships/image" Target="../media/image28.png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75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6.png"/><Relationship Id="rId18" Type="http://schemas.openxmlformats.org/officeDocument/2006/relationships/image" Target="../media/image41.png"/><Relationship Id="rId26" Type="http://schemas.openxmlformats.org/officeDocument/2006/relationships/image" Target="../media/image28.png"/><Relationship Id="rId3" Type="http://schemas.openxmlformats.org/officeDocument/2006/relationships/diagramLayout" Target="../diagrams/layout1.xml"/><Relationship Id="rId21" Type="http://schemas.openxmlformats.org/officeDocument/2006/relationships/image" Target="../media/image44.jpeg"/><Relationship Id="rId34" Type="http://schemas.openxmlformats.org/officeDocument/2006/relationships/image" Target="../media/image56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17" Type="http://schemas.openxmlformats.org/officeDocument/2006/relationships/image" Target="../media/image40.svg"/><Relationship Id="rId25" Type="http://schemas.openxmlformats.org/officeDocument/2006/relationships/image" Target="../media/image48.png"/><Relationship Id="rId33" Type="http://schemas.openxmlformats.org/officeDocument/2006/relationships/image" Target="../media/image55.png"/><Relationship Id="rId2" Type="http://schemas.openxmlformats.org/officeDocument/2006/relationships/diagramData" Target="../diagrams/data1.xml"/><Relationship Id="rId16" Type="http://schemas.openxmlformats.org/officeDocument/2006/relationships/image" Target="../media/image39.png"/><Relationship Id="rId20" Type="http://schemas.openxmlformats.org/officeDocument/2006/relationships/image" Target="../media/image43.png"/><Relationship Id="rId29" Type="http://schemas.openxmlformats.org/officeDocument/2006/relationships/image" Target="../media/image51.jpeg"/><Relationship Id="rId1" Type="http://schemas.openxmlformats.org/officeDocument/2006/relationships/slideLayout" Target="../slideLayouts/slideLayout528.xml"/><Relationship Id="rId6" Type="http://schemas.microsoft.com/office/2007/relationships/diagramDrawing" Target="../diagrams/drawing1.xml"/><Relationship Id="rId11" Type="http://schemas.openxmlformats.org/officeDocument/2006/relationships/image" Target="../media/image34.png"/><Relationship Id="rId24" Type="http://schemas.openxmlformats.org/officeDocument/2006/relationships/image" Target="../media/image47.png"/><Relationship Id="rId32" Type="http://schemas.openxmlformats.org/officeDocument/2006/relationships/image" Target="../media/image54.png"/><Relationship Id="rId5" Type="http://schemas.openxmlformats.org/officeDocument/2006/relationships/diagramColors" Target="../diagrams/colors1.xml"/><Relationship Id="rId15" Type="http://schemas.openxmlformats.org/officeDocument/2006/relationships/image" Target="../media/image38.jpeg"/><Relationship Id="rId23" Type="http://schemas.openxmlformats.org/officeDocument/2006/relationships/image" Target="../media/image46.png"/><Relationship Id="rId28" Type="http://schemas.openxmlformats.org/officeDocument/2006/relationships/image" Target="../media/image50.png"/><Relationship Id="rId36" Type="http://schemas.openxmlformats.org/officeDocument/2006/relationships/image" Target="../media/image58.png"/><Relationship Id="rId10" Type="http://schemas.openxmlformats.org/officeDocument/2006/relationships/image" Target="../media/image33.png"/><Relationship Id="rId19" Type="http://schemas.openxmlformats.org/officeDocument/2006/relationships/image" Target="../media/image42.svg"/><Relationship Id="rId31" Type="http://schemas.openxmlformats.org/officeDocument/2006/relationships/image" Target="../media/image53.jpe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32.png"/><Relationship Id="rId14" Type="http://schemas.openxmlformats.org/officeDocument/2006/relationships/image" Target="../media/image37.png"/><Relationship Id="rId22" Type="http://schemas.openxmlformats.org/officeDocument/2006/relationships/image" Target="../media/image45.jpeg"/><Relationship Id="rId27" Type="http://schemas.openxmlformats.org/officeDocument/2006/relationships/image" Target="../media/image49.png"/><Relationship Id="rId30" Type="http://schemas.openxmlformats.org/officeDocument/2006/relationships/image" Target="../media/image52.jpeg"/><Relationship Id="rId35" Type="http://schemas.openxmlformats.org/officeDocument/2006/relationships/image" Target="../media/image57.jpeg"/><Relationship Id="rId8" Type="http://schemas.openxmlformats.org/officeDocument/2006/relationships/image" Target="../media/image3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75.xml"/><Relationship Id="rId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7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27">
            <a:extLst>
              <a:ext uri="{FF2B5EF4-FFF2-40B4-BE49-F238E27FC236}">
                <a16:creationId xmlns:a16="http://schemas.microsoft.com/office/drawing/2014/main" id="{20C6188A-E885-E2C2-20C1-38BE4736A77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21" r="11721"/>
          <a:stretch/>
        </p:blipFill>
        <p:spPr/>
      </p:pic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CBA92EE0-3004-9DC1-7863-85B7E4191AF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0" y="0"/>
            <a:ext cx="9334042" cy="6857999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99EDB031-34B4-74B3-16A9-969EA71A38A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b="1" dirty="0"/>
              <a:t>03</a:t>
            </a:r>
          </a:p>
          <a:p>
            <a:r>
              <a:rPr lang="en-US" b="1" dirty="0"/>
              <a:t>04</a:t>
            </a:r>
          </a:p>
          <a:p>
            <a:r>
              <a:rPr lang="en-US" b="1" dirty="0"/>
              <a:t>24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955D7F7-FCF9-A93A-3DC7-DD6304753E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0868" y="3959750"/>
            <a:ext cx="6070537" cy="2209275"/>
          </a:xfrm>
        </p:spPr>
        <p:txBody>
          <a:bodyPr/>
          <a:lstStyle/>
          <a:p>
            <a:pPr lvl="0"/>
            <a:r>
              <a:rPr lang="en-GB" sz="3200" b="1" dirty="0"/>
              <a:t>IBEROGAST</a:t>
            </a:r>
          </a:p>
          <a:p>
            <a:pPr lvl="0"/>
            <a:r>
              <a:rPr lang="en-GB" sz="3200" b="1" dirty="0"/>
              <a:t>Plan 2025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8F62D396-0C4E-AD79-1851-F1ACECA0CD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FE114B-DF68-AC0F-B712-C6C1092353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889724" y="3635296"/>
            <a:ext cx="2134698" cy="3038475"/>
          </a:xfrm>
        </p:spPr>
        <p:txBody>
          <a:bodyPr/>
          <a:lstStyle/>
          <a:p>
            <a:r>
              <a:rPr lang="en-US" dirty="0"/>
              <a:t>#AlwaysAhead</a:t>
            </a:r>
          </a:p>
          <a:p>
            <a:endParaRPr lang="en-US" dirty="0"/>
          </a:p>
          <a:p>
            <a:r>
              <a:rPr lang="en-US" dirty="0" err="1"/>
              <a:t>Abr</a:t>
            </a:r>
            <a:r>
              <a:rPr lang="en-US" dirty="0"/>
              <a:t> 2024</a:t>
            </a:r>
          </a:p>
        </p:txBody>
      </p:sp>
    </p:spTree>
    <p:extLst>
      <p:ext uri="{BB962C8B-B14F-4D97-AF65-F5344CB8AC3E}">
        <p14:creationId xmlns:p14="http://schemas.microsoft.com/office/powerpoint/2010/main" val="1447870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picture containing person, green&#10;&#10;Description automatically generated">
            <a:extLst>
              <a:ext uri="{FF2B5EF4-FFF2-40B4-BE49-F238E27FC236}">
                <a16:creationId xmlns:a16="http://schemas.microsoft.com/office/drawing/2014/main" id="{029E1BA3-332B-30C6-A2E3-CDE5A965A3A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5" b="165"/>
          <a:stretch/>
        </p:blipFill>
        <p:spPr/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6D33F0D-0C29-77AC-6C7A-274E1479C99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90AEA4-C5AB-7254-0C20-2DFC63D3AC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48D6D33-2A29-AB0E-5A41-75D7F481A1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51285" y="2743200"/>
            <a:ext cx="4624039" cy="2743200"/>
          </a:xfrm>
        </p:spPr>
        <p:txBody>
          <a:bodyPr/>
          <a:lstStyle/>
          <a:p>
            <a:r>
              <a:rPr lang="en-GB"/>
              <a:t>AGENDA DEL DÍ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36F9F9-D26F-4112-C52C-5CAF823B19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4" name="Table 44">
            <a:extLst>
              <a:ext uri="{FF2B5EF4-FFF2-40B4-BE49-F238E27FC236}">
                <a16:creationId xmlns:a16="http://schemas.microsoft.com/office/drawing/2014/main" id="{19B5BA7B-FF79-2C0E-73FB-8CCFE40E4E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1417230"/>
              </p:ext>
            </p:extLst>
          </p:nvPr>
        </p:nvGraphicFramePr>
        <p:xfrm>
          <a:off x="7519481" y="2054750"/>
          <a:ext cx="3855117" cy="2745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8675">
                  <a:extLst>
                    <a:ext uri="{9D8B030D-6E8A-4147-A177-3AD203B41FA5}">
                      <a16:colId xmlns:a16="http://schemas.microsoft.com/office/drawing/2014/main" val="1267486112"/>
                    </a:ext>
                  </a:extLst>
                </a:gridCol>
                <a:gridCol w="108000">
                  <a:extLst>
                    <a:ext uri="{9D8B030D-6E8A-4147-A177-3AD203B41FA5}">
                      <a16:colId xmlns:a16="http://schemas.microsoft.com/office/drawing/2014/main" val="1191153545"/>
                    </a:ext>
                  </a:extLst>
                </a:gridCol>
                <a:gridCol w="3138442">
                  <a:extLst>
                    <a:ext uri="{9D8B030D-6E8A-4147-A177-3AD203B41FA5}">
                      <a16:colId xmlns:a16="http://schemas.microsoft.com/office/drawing/2014/main" val="518157885"/>
                    </a:ext>
                  </a:extLst>
                </a:gridCol>
              </a:tblGrid>
              <a:tr h="686330">
                <a:tc>
                  <a:txBody>
                    <a:bodyPr/>
                    <a:lstStyle/>
                    <a:p>
                      <a:pPr algn="r"/>
                      <a:r>
                        <a:rPr lang="en-GB" sz="1800" b="1">
                          <a:solidFill>
                            <a:schemeClr val="tx1"/>
                          </a:solidFill>
                        </a:rPr>
                        <a:t>01</a:t>
                      </a:r>
                    </a:p>
                  </a:txBody>
                  <a:tcPr marL="0" marR="288000" anchor="ctr">
                    <a:lnL w="12700" cmpd="sng">
                      <a:noFill/>
                    </a:lnL>
                    <a:lnR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Alineación</a:t>
                      </a:r>
                      <a:endParaRPr kumimoji="0" lang="en-GB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Panorama </a:t>
                      </a:r>
                      <a:r>
                        <a:rPr kumimoji="0" lang="en-GB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competitivo</a:t>
                      </a:r>
                      <a:endParaRPr kumimoji="0" lang="en-GB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288000" marR="0" anchor="ctr">
                    <a:lnL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0955368"/>
                  </a:ext>
                </a:extLst>
              </a:tr>
              <a:tr h="686330">
                <a:tc>
                  <a:txBody>
                    <a:bodyPr/>
                    <a:lstStyle/>
                    <a:p>
                      <a:pPr algn="r"/>
                      <a:r>
                        <a:rPr lang="en-GB" sz="1800" b="1">
                          <a:solidFill>
                            <a:schemeClr val="tx1"/>
                          </a:solidFill>
                        </a:rPr>
                        <a:t>02</a:t>
                      </a:r>
                    </a:p>
                  </a:txBody>
                  <a:tcPr marL="0" marR="288000" anchor="ctr">
                    <a:lnL w="12700" cmpd="sng">
                      <a:noFill/>
                    </a:lnL>
                    <a:lnR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4D8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Audiencia</a:t>
                      </a:r>
                      <a:endParaRPr kumimoji="0" lang="en-GB" sz="18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288000" marR="0" anchor="ctr">
                    <a:lnL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418696"/>
                  </a:ext>
                </a:extLst>
              </a:tr>
              <a:tr h="686330">
                <a:tc>
                  <a:txBody>
                    <a:bodyPr/>
                    <a:lstStyle/>
                    <a:p>
                      <a:pPr algn="r"/>
                      <a:r>
                        <a:rPr lang="en-GB" sz="1800" b="1">
                          <a:solidFill>
                            <a:schemeClr val="tx1"/>
                          </a:solidFill>
                        </a:rPr>
                        <a:t>03</a:t>
                      </a:r>
                    </a:p>
                  </a:txBody>
                  <a:tcPr marL="0" marR="288000" anchor="ctr">
                    <a:lnL w="12700" cmpd="sng">
                      <a:noFill/>
                    </a:lnL>
                    <a:lnR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BC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Estrategia</a:t>
                      </a:r>
                      <a:endParaRPr kumimoji="0" lang="en-GB" sz="18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288000" marR="0" anchor="ctr">
                    <a:lnL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304370"/>
                  </a:ext>
                </a:extLst>
              </a:tr>
              <a:tr h="686330">
                <a:tc>
                  <a:txBody>
                    <a:bodyPr/>
                    <a:lstStyle/>
                    <a:p>
                      <a:pPr algn="r"/>
                      <a:r>
                        <a:rPr lang="en-GB" sz="1800" b="1">
                          <a:solidFill>
                            <a:schemeClr val="tx1"/>
                          </a:solidFill>
                        </a:rPr>
                        <a:t>04</a:t>
                      </a:r>
                    </a:p>
                  </a:txBody>
                  <a:tcPr marL="0" marR="288000" anchor="ctr">
                    <a:lnL w="12700" cmpd="sng">
                      <a:noFill/>
                    </a:lnL>
                    <a:lnR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Activación</a:t>
                      </a:r>
                      <a:endParaRPr lang="en-GB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Funnel </a:t>
                      </a:r>
                      <a:r>
                        <a:rPr kumimoji="0" lang="en-GB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táctico</a:t>
                      </a: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 / Roadmap </a:t>
                      </a:r>
                    </a:p>
                  </a:txBody>
                  <a:tcPr marL="288000" marR="0" anchor="ctr">
                    <a:lnL w="76200" cap="flat" cmpd="sng" algn="ctr"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9963238"/>
                  </a:ext>
                </a:extLst>
              </a:tr>
            </a:tbl>
          </a:graphicData>
        </a:graphic>
      </p:graphicFrame>
      <p:pic>
        <p:nvPicPr>
          <p:cNvPr id="3" name="Picture 4" descr="Ogilvy - UNA">
            <a:extLst>
              <a:ext uri="{FF2B5EF4-FFF2-40B4-BE49-F238E27FC236}">
                <a16:creationId xmlns:a16="http://schemas.microsoft.com/office/drawing/2014/main" id="{32A8419A-6FBE-923B-21DC-A88AF0DAD0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905" y="6392847"/>
            <a:ext cx="748747" cy="29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63406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7C89D8-F472-3A70-A53D-530C2A8461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ource: </a:t>
            </a:r>
          </a:p>
        </p:txBody>
      </p:sp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069D9907-3284-6699-C397-0127CDCDDB1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13" b="15913"/>
          <a:stretch/>
        </p:blipFill>
        <p:spPr/>
      </p:pic>
      <p:pic>
        <p:nvPicPr>
          <p:cNvPr id="28" name="Picture Placeholder 27" descr="A picture containing accessory&#10;&#10;Description automatically generated">
            <a:extLst>
              <a:ext uri="{FF2B5EF4-FFF2-40B4-BE49-F238E27FC236}">
                <a16:creationId xmlns:a16="http://schemas.microsoft.com/office/drawing/2014/main" id="{13A0ECF3-B09D-6176-4ACC-DD8D0A9060D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" r="9"/>
          <a:stretch/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EC4E6A-3A0B-0ADC-3A3A-2D14C4ABECA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1"/>
            <a:r>
              <a:rPr lang="en-GB" sz="3200" b="1" dirty="0" err="1"/>
              <a:t>Alineación</a:t>
            </a:r>
            <a:endParaRPr lang="en-GB" sz="3200" b="1" dirty="0"/>
          </a:p>
          <a:p>
            <a:pPr lvl="1"/>
            <a:r>
              <a:rPr lang="en-GB" sz="2000" dirty="0"/>
              <a:t>Panorama </a:t>
            </a:r>
            <a:r>
              <a:rPr lang="en-GB" sz="2000" dirty="0" err="1"/>
              <a:t>competitivo</a:t>
            </a:r>
            <a:endParaRPr lang="en-GB" sz="2000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7508489-30D8-C057-667D-17E548F289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90E8977-A842-5960-D47B-7453C391771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/>
              <a:t>01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0DBAEA-A844-2329-F2A9-D036C6BFF4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DCD8D13-AB54-5F93-323B-56F26FC1CC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12708"/>
            <a:ext cx="8986449" cy="3422646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127B2EA-5794-481B-6046-53ED83435F9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0" y="3432600"/>
            <a:ext cx="6418799" cy="343535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2378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B7330A0-1805-4BF4-D88A-BF671AC40E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Fuente: Integra metrics / Exacta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8B73FC87-FA16-6CC6-9F4D-391D84C77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Competencia Offline</a:t>
            </a:r>
          </a:p>
        </p:txBody>
      </p:sp>
      <p:graphicFrame>
        <p:nvGraphicFramePr>
          <p:cNvPr id="17" name="Gráfico 16">
            <a:extLst>
              <a:ext uri="{FF2B5EF4-FFF2-40B4-BE49-F238E27FC236}">
                <a16:creationId xmlns:a16="http://schemas.microsoft.com/office/drawing/2014/main" id="{79341281-E587-8E02-3C57-AD80F352C0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62476305"/>
              </p:ext>
            </p:extLst>
          </p:nvPr>
        </p:nvGraphicFramePr>
        <p:xfrm>
          <a:off x="4374431" y="1582221"/>
          <a:ext cx="3507915" cy="34584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BA75A3-C8E6-C22E-8773-AF598804B1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4</a:t>
            </a:fld>
            <a:endParaRPr lang="es-MX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BF156FEB-C6E7-53A5-309E-6E8FB2F960FA}"/>
              </a:ext>
            </a:extLst>
          </p:cNvPr>
          <p:cNvSpPr/>
          <p:nvPr/>
        </p:nvSpPr>
        <p:spPr>
          <a:xfrm>
            <a:off x="4374431" y="5100319"/>
            <a:ext cx="3507913" cy="1394824"/>
          </a:xfrm>
          <a:prstGeom prst="rect">
            <a:avLst/>
          </a:prstGeom>
          <a:solidFill>
            <a:srgbClr val="EDE9E9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OTAS RELEVANTES</a:t>
            </a:r>
          </a:p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Durante el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periodo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que ambas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marcas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estuvieron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activas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,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canalizaron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su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comunicación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en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el medio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televisivo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,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unicamente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.</a:t>
            </a:r>
          </a:p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QG5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concentró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en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los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canales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de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Televicentro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,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mientras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que Metamucil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utilizó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diversos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canales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,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ampliando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su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rgbClr val="011627"/>
                </a:solidFill>
                <a:latin typeface="Century Gothic" panose="020F0302020204030204"/>
              </a:rPr>
              <a:t>alcance</a:t>
            </a:r>
            <a:r>
              <a:rPr lang="en-GB" sz="1100" dirty="0">
                <a:solidFill>
                  <a:srgbClr val="011627"/>
                </a:solidFill>
                <a:latin typeface="Century Gothic" panose="020F0302020204030204"/>
              </a:rPr>
              <a:t>,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BD89EB29-6513-DE75-078A-A3CEF32C3B21}"/>
              </a:ext>
            </a:extLst>
          </p:cNvPr>
          <p:cNvSpPr/>
          <p:nvPr/>
        </p:nvSpPr>
        <p:spPr>
          <a:xfrm>
            <a:off x="8107505" y="5100319"/>
            <a:ext cx="3507913" cy="1394824"/>
          </a:xfrm>
          <a:prstGeom prst="rect">
            <a:avLst/>
          </a:prstGeom>
          <a:solidFill>
            <a:srgbClr val="EDE9E9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rgbClr val="011627"/>
                </a:solidFill>
                <a:latin typeface="Century Gothic" panose="020F0302020204030204"/>
              </a:rPr>
              <a:t>NOTAS RELEVANTES</a:t>
            </a:r>
          </a:p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50" dirty="0">
                <a:solidFill>
                  <a:srgbClr val="011627"/>
                </a:solidFill>
                <a:latin typeface="Century Gothic" panose="020F0302020204030204"/>
              </a:rPr>
              <a:t>QG5 </a:t>
            </a:r>
            <a:r>
              <a:rPr lang="en-GB" sz="1050" dirty="0" err="1">
                <a:solidFill>
                  <a:srgbClr val="011627"/>
                </a:solidFill>
                <a:latin typeface="Century Gothic" panose="020F0302020204030204"/>
              </a:rPr>
              <a:t>mantuvo</a:t>
            </a:r>
            <a:r>
              <a:rPr lang="en-GB" sz="1050" dirty="0">
                <a:solidFill>
                  <a:srgbClr val="011627"/>
                </a:solidFill>
                <a:latin typeface="Century Gothic" panose="020F0302020204030204"/>
              </a:rPr>
              <a:t> al </a:t>
            </a:r>
            <a:r>
              <a:rPr lang="en-GB" sz="1050" dirty="0" err="1">
                <a:solidFill>
                  <a:srgbClr val="011627"/>
                </a:solidFill>
                <a:latin typeface="Century Gothic" panose="020F0302020204030204"/>
              </a:rPr>
              <a:t>aire</a:t>
            </a:r>
            <a:r>
              <a:rPr lang="en-GB" sz="1050" dirty="0">
                <a:solidFill>
                  <a:srgbClr val="011627"/>
                </a:solidFill>
                <a:latin typeface="Century Gothic" panose="020F0302020204030204"/>
              </a:rPr>
              <a:t> spots de 10” y 30” (50% del </a:t>
            </a:r>
            <a:r>
              <a:rPr lang="en-GB" sz="1050" dirty="0" err="1">
                <a:solidFill>
                  <a:srgbClr val="011627"/>
                </a:solidFill>
                <a:latin typeface="Century Gothic" panose="020F0302020204030204"/>
              </a:rPr>
              <a:t>ruido</a:t>
            </a:r>
            <a:r>
              <a:rPr lang="en-GB" sz="1050" dirty="0">
                <a:solidFill>
                  <a:srgbClr val="011627"/>
                </a:solidFill>
                <a:latin typeface="Century Gothic" panose="020F0302020204030204"/>
              </a:rPr>
              <a:t> para </a:t>
            </a:r>
            <a:r>
              <a:rPr lang="en-GB" sz="1050" dirty="0" err="1">
                <a:solidFill>
                  <a:srgbClr val="011627"/>
                </a:solidFill>
                <a:latin typeface="Century Gothic" panose="020F0302020204030204"/>
              </a:rPr>
              <a:t>cada</a:t>
            </a:r>
            <a:r>
              <a:rPr lang="en-GB" sz="1050" dirty="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GB" sz="1050" dirty="0" err="1">
                <a:solidFill>
                  <a:srgbClr val="011627"/>
                </a:solidFill>
                <a:latin typeface="Century Gothic" panose="020F0302020204030204"/>
              </a:rPr>
              <a:t>versión</a:t>
            </a:r>
            <a:r>
              <a:rPr lang="en-GB" sz="1050" dirty="0">
                <a:solidFill>
                  <a:srgbClr val="011627"/>
                </a:solidFill>
                <a:latin typeface="Century Gothic" panose="020F0302020204030204"/>
              </a:rPr>
              <a:t>) , con </a:t>
            </a:r>
            <a:r>
              <a:rPr lang="en-GB" sz="1050" dirty="0" err="1">
                <a:solidFill>
                  <a:srgbClr val="011627"/>
                </a:solidFill>
                <a:latin typeface="Century Gothic" panose="020F0302020204030204"/>
              </a:rPr>
              <a:t>paquete</a:t>
            </a:r>
            <a:r>
              <a:rPr lang="en-GB" sz="1050" dirty="0">
                <a:solidFill>
                  <a:srgbClr val="011627"/>
                </a:solidFill>
                <a:latin typeface="Century Gothic" panose="020F0302020204030204"/>
              </a:rPr>
              <a:t> de </a:t>
            </a:r>
            <a:r>
              <a:rPr lang="en-GB" sz="1050" dirty="0" err="1">
                <a:solidFill>
                  <a:srgbClr val="011627"/>
                </a:solidFill>
                <a:latin typeface="Century Gothic" panose="020F0302020204030204"/>
              </a:rPr>
              <a:t>frecuencia</a:t>
            </a:r>
            <a:r>
              <a:rPr lang="en-GB" sz="1050" dirty="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GB" sz="1050" dirty="0" err="1">
                <a:solidFill>
                  <a:srgbClr val="011627"/>
                </a:solidFill>
                <a:latin typeface="Century Gothic" panose="020F0302020204030204"/>
              </a:rPr>
              <a:t>distribuidos</a:t>
            </a:r>
            <a:r>
              <a:rPr lang="en-GB" sz="1050" dirty="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GB" sz="1050" dirty="0" err="1">
                <a:solidFill>
                  <a:srgbClr val="011627"/>
                </a:solidFill>
                <a:latin typeface="Century Gothic" panose="020F0302020204030204"/>
              </a:rPr>
              <a:t>en</a:t>
            </a:r>
            <a:r>
              <a:rPr lang="en-GB" sz="1050" dirty="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GB" sz="1050" dirty="0" err="1">
                <a:solidFill>
                  <a:srgbClr val="011627"/>
                </a:solidFill>
                <a:latin typeface="Century Gothic" panose="020F0302020204030204"/>
              </a:rPr>
              <a:t>toda</a:t>
            </a:r>
            <a:r>
              <a:rPr lang="en-GB" sz="1050" dirty="0">
                <a:solidFill>
                  <a:srgbClr val="011627"/>
                </a:solidFill>
                <a:latin typeface="Century Gothic" panose="020F0302020204030204"/>
              </a:rPr>
              <a:t> la </a:t>
            </a:r>
            <a:r>
              <a:rPr lang="en-GB" sz="1050" dirty="0" err="1">
                <a:solidFill>
                  <a:srgbClr val="011627"/>
                </a:solidFill>
                <a:latin typeface="Century Gothic" panose="020F0302020204030204"/>
              </a:rPr>
              <a:t>programación</a:t>
            </a:r>
            <a:r>
              <a:rPr lang="en-GB" sz="1050" dirty="0">
                <a:solidFill>
                  <a:srgbClr val="011627"/>
                </a:solidFill>
                <a:latin typeface="Century Gothic" panose="020F0302020204030204"/>
              </a:rPr>
              <a:t> de los </a:t>
            </a:r>
            <a:r>
              <a:rPr lang="en-GB" sz="1050" dirty="0" err="1">
                <a:solidFill>
                  <a:srgbClr val="011627"/>
                </a:solidFill>
                <a:latin typeface="Century Gothic" panose="020F0302020204030204"/>
              </a:rPr>
              <a:t>canales</a:t>
            </a:r>
            <a:r>
              <a:rPr lang="en-GB" sz="1050" dirty="0">
                <a:solidFill>
                  <a:srgbClr val="011627"/>
                </a:solidFill>
                <a:latin typeface="Century Gothic" panose="020F0302020204030204"/>
              </a:rPr>
              <a:t>.</a:t>
            </a:r>
          </a:p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etamucil, </a:t>
            </a:r>
            <a:r>
              <a:rPr kumimoji="0" lang="en-GB" sz="105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utiliza</a:t>
            </a:r>
            <a:r>
              <a:rPr kumimoji="0" lang="en-GB" sz="105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spot de 15”, </a:t>
            </a:r>
            <a:r>
              <a:rPr kumimoji="0" lang="en-GB" sz="105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oncentrando</a:t>
            </a:r>
            <a:r>
              <a:rPr kumimoji="0" lang="en-GB" sz="105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en-GB" sz="105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n</a:t>
            </a:r>
            <a:r>
              <a:rPr kumimoji="0" lang="en-GB" sz="105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en-GB" sz="105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oticias</a:t>
            </a:r>
            <a:r>
              <a:rPr kumimoji="0" lang="en-GB" sz="105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(62%), </a:t>
            </a:r>
            <a:r>
              <a:rPr kumimoji="0" lang="en-GB" sz="105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ovelas</a:t>
            </a:r>
            <a:r>
              <a:rPr kumimoji="0" lang="en-GB" sz="105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(15%) y </a:t>
            </a:r>
            <a:r>
              <a:rPr kumimoji="0" lang="en-GB" sz="105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ntretenimiento</a:t>
            </a:r>
            <a:r>
              <a:rPr kumimoji="0" lang="en-GB" sz="105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(23%)</a:t>
            </a:r>
          </a:p>
        </p:txBody>
      </p:sp>
      <p:graphicFrame>
        <p:nvGraphicFramePr>
          <p:cNvPr id="16" name="Tabla 17">
            <a:extLst>
              <a:ext uri="{FF2B5EF4-FFF2-40B4-BE49-F238E27FC236}">
                <a16:creationId xmlns:a16="http://schemas.microsoft.com/office/drawing/2014/main" id="{7D04BF72-ED85-9C73-B087-C5CD02E5F1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7001174"/>
              </p:ext>
            </p:extLst>
          </p:nvPr>
        </p:nvGraphicFramePr>
        <p:xfrm>
          <a:off x="1674286" y="4174608"/>
          <a:ext cx="2279368" cy="7436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9842">
                  <a:extLst>
                    <a:ext uri="{9D8B030D-6E8A-4147-A177-3AD203B41FA5}">
                      <a16:colId xmlns:a16="http://schemas.microsoft.com/office/drawing/2014/main" val="1472914795"/>
                    </a:ext>
                  </a:extLst>
                </a:gridCol>
                <a:gridCol w="569842">
                  <a:extLst>
                    <a:ext uri="{9D8B030D-6E8A-4147-A177-3AD203B41FA5}">
                      <a16:colId xmlns:a16="http://schemas.microsoft.com/office/drawing/2014/main" val="2236396870"/>
                    </a:ext>
                  </a:extLst>
                </a:gridCol>
                <a:gridCol w="569842">
                  <a:extLst>
                    <a:ext uri="{9D8B030D-6E8A-4147-A177-3AD203B41FA5}">
                      <a16:colId xmlns:a16="http://schemas.microsoft.com/office/drawing/2014/main" val="1211633584"/>
                    </a:ext>
                  </a:extLst>
                </a:gridCol>
                <a:gridCol w="569842">
                  <a:extLst>
                    <a:ext uri="{9D8B030D-6E8A-4147-A177-3AD203B41FA5}">
                      <a16:colId xmlns:a16="http://schemas.microsoft.com/office/drawing/2014/main" val="2010881446"/>
                    </a:ext>
                  </a:extLst>
                </a:gridCol>
              </a:tblGrid>
              <a:tr h="173288">
                <a:tc gridSpan="2">
                  <a:txBody>
                    <a:bodyPr/>
                    <a:lstStyle/>
                    <a:p>
                      <a:pPr algn="ctr"/>
                      <a:r>
                        <a:rPr lang="es-MX" sz="1000" b="1" dirty="0">
                          <a:solidFill>
                            <a:schemeClr val="tx1"/>
                          </a:solidFill>
                        </a:rPr>
                        <a:t>FY 2022</a:t>
                      </a:r>
                    </a:p>
                  </a:txBody>
                  <a:tcPr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s-MX" sz="800" b="1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s-MX" sz="1000" b="1" dirty="0">
                          <a:solidFill>
                            <a:schemeClr val="tx1"/>
                          </a:solidFill>
                        </a:rPr>
                        <a:t>2023 YTD</a:t>
                      </a:r>
                    </a:p>
                  </a:txBody>
                  <a:tcPr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s-MX" sz="800" b="1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9453056"/>
                  </a:ext>
                </a:extLst>
              </a:tr>
              <a:tr h="173288">
                <a:tc>
                  <a:txBody>
                    <a:bodyPr/>
                    <a:lstStyle/>
                    <a:p>
                      <a:pPr algn="ctr"/>
                      <a:r>
                        <a:rPr lang="es-MX" sz="800" b="0">
                          <a:solidFill>
                            <a:schemeClr val="tx1"/>
                          </a:solidFill>
                        </a:rPr>
                        <a:t>SPEND</a:t>
                      </a:r>
                    </a:p>
                  </a:txBody>
                  <a:tcPr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800" b="0">
                          <a:solidFill>
                            <a:schemeClr val="tx1"/>
                          </a:solidFill>
                        </a:rPr>
                        <a:t>TRPS</a:t>
                      </a:r>
                    </a:p>
                  </a:txBody>
                  <a:tcPr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800" b="0">
                          <a:solidFill>
                            <a:schemeClr val="tx1"/>
                          </a:solidFill>
                        </a:rPr>
                        <a:t>SPEND</a:t>
                      </a:r>
                    </a:p>
                  </a:txBody>
                  <a:tcPr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800" b="0">
                          <a:solidFill>
                            <a:schemeClr val="tx1"/>
                          </a:solidFill>
                        </a:rPr>
                        <a:t>TRPS</a:t>
                      </a:r>
                    </a:p>
                  </a:txBody>
                  <a:tcPr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898797"/>
                  </a:ext>
                </a:extLst>
              </a:tr>
              <a:tr h="286459">
                <a:tc>
                  <a:txBody>
                    <a:bodyPr/>
                    <a:lstStyle/>
                    <a:p>
                      <a:pPr algn="ctr"/>
                      <a:r>
                        <a:rPr lang="es-MX" sz="800" b="0" dirty="0">
                          <a:solidFill>
                            <a:schemeClr val="tx1"/>
                          </a:solidFill>
                        </a:rPr>
                        <a:t>$352K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800" b="0" dirty="0">
                          <a:solidFill>
                            <a:schemeClr val="tx1"/>
                          </a:solidFill>
                        </a:rPr>
                        <a:t>5,792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MX" sz="8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MX" sz="8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2231139"/>
                  </a:ext>
                </a:extLst>
              </a:tr>
            </a:tbl>
          </a:graphicData>
        </a:graphic>
      </p:graphicFrame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3876B100-E64D-362E-82EC-C3A5A9A067F2}"/>
              </a:ext>
            </a:extLst>
          </p:cNvPr>
          <p:cNvCxnSpPr/>
          <p:nvPr/>
        </p:nvCxnSpPr>
        <p:spPr>
          <a:xfrm flipV="1">
            <a:off x="2813970" y="1411434"/>
            <a:ext cx="0" cy="3549842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ángulo 9">
            <a:extLst>
              <a:ext uri="{FF2B5EF4-FFF2-40B4-BE49-F238E27FC236}">
                <a16:creationId xmlns:a16="http://schemas.microsoft.com/office/drawing/2014/main" id="{1E424AC0-2376-7B70-8DBB-A5ED456852EE}"/>
              </a:ext>
            </a:extLst>
          </p:cNvPr>
          <p:cNvSpPr/>
          <p:nvPr/>
        </p:nvSpPr>
        <p:spPr>
          <a:xfrm>
            <a:off x="641355" y="5100319"/>
            <a:ext cx="3507913" cy="1068706"/>
          </a:xfrm>
          <a:prstGeom prst="rect">
            <a:avLst/>
          </a:prstGeom>
          <a:solidFill>
            <a:srgbClr val="EDE9E9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OTAS RELEVANTES</a:t>
            </a:r>
          </a:p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chemeClr val="tx1"/>
                </a:solidFill>
                <a:latin typeface="Century Gothic" panose="020F0302020204030204"/>
              </a:rPr>
              <a:t>QG5 y METAMUCIL </a:t>
            </a:r>
            <a:r>
              <a:rPr lang="en-GB" sz="1100" dirty="0" err="1">
                <a:solidFill>
                  <a:schemeClr val="tx1"/>
                </a:solidFill>
                <a:latin typeface="Century Gothic" panose="020F0302020204030204"/>
              </a:rPr>
              <a:t>estuvieron</a:t>
            </a:r>
            <a:r>
              <a:rPr lang="en-GB" sz="1100" dirty="0">
                <a:solidFill>
                  <a:schemeClr val="tx1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chemeClr val="tx1"/>
                </a:solidFill>
                <a:latin typeface="Century Gothic" panose="020F0302020204030204"/>
              </a:rPr>
              <a:t>activas</a:t>
            </a:r>
            <a:r>
              <a:rPr lang="en-GB" sz="1100" dirty="0">
                <a:solidFill>
                  <a:schemeClr val="tx1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chemeClr val="tx1"/>
                </a:solidFill>
                <a:latin typeface="Century Gothic" panose="020F0302020204030204"/>
              </a:rPr>
              <a:t>durante</a:t>
            </a:r>
            <a:r>
              <a:rPr lang="en-GB" sz="1100" dirty="0">
                <a:solidFill>
                  <a:schemeClr val="tx1"/>
                </a:solidFill>
                <a:latin typeface="Century Gothic" panose="020F0302020204030204"/>
              </a:rPr>
              <a:t> el primer </a:t>
            </a:r>
            <a:r>
              <a:rPr lang="en-GB" sz="1100" dirty="0" err="1">
                <a:solidFill>
                  <a:schemeClr val="tx1"/>
                </a:solidFill>
                <a:latin typeface="Century Gothic" panose="020F0302020204030204"/>
              </a:rPr>
              <a:t>semestre</a:t>
            </a:r>
            <a:r>
              <a:rPr lang="en-GB" sz="1100" dirty="0">
                <a:solidFill>
                  <a:schemeClr val="tx1"/>
                </a:solidFill>
                <a:latin typeface="Century Gothic" panose="020F0302020204030204"/>
              </a:rPr>
              <a:t> del </a:t>
            </a:r>
            <a:r>
              <a:rPr lang="en-GB" sz="1100" dirty="0" err="1">
                <a:solidFill>
                  <a:schemeClr val="tx1"/>
                </a:solidFill>
                <a:latin typeface="Century Gothic" panose="020F0302020204030204"/>
              </a:rPr>
              <a:t>año</a:t>
            </a:r>
            <a:r>
              <a:rPr lang="en-GB" sz="1100" dirty="0">
                <a:solidFill>
                  <a:schemeClr val="tx1"/>
                </a:solidFill>
                <a:latin typeface="Century Gothic" panose="020F0302020204030204"/>
              </a:rPr>
              <a:t> 2022.</a:t>
            </a:r>
          </a:p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chemeClr val="tx1"/>
                </a:solidFill>
                <a:latin typeface="Century Gothic" panose="020F0302020204030204"/>
              </a:rPr>
              <a:t>A </a:t>
            </a:r>
            <a:r>
              <a:rPr lang="en-GB" sz="1100" dirty="0" err="1">
                <a:solidFill>
                  <a:schemeClr val="tx1"/>
                </a:solidFill>
                <a:latin typeface="Century Gothic" panose="020F0302020204030204"/>
              </a:rPr>
              <a:t>partir</a:t>
            </a:r>
            <a:r>
              <a:rPr lang="en-GB" sz="1100" dirty="0">
                <a:solidFill>
                  <a:schemeClr val="tx1"/>
                </a:solidFill>
                <a:latin typeface="Century Gothic" panose="020F0302020204030204"/>
              </a:rPr>
              <a:t> del </a:t>
            </a:r>
            <a:r>
              <a:rPr lang="en-GB" sz="1100" dirty="0" err="1">
                <a:solidFill>
                  <a:schemeClr val="tx1"/>
                </a:solidFill>
                <a:latin typeface="Century Gothic" panose="020F0302020204030204"/>
              </a:rPr>
              <a:t>segundo</a:t>
            </a:r>
            <a:r>
              <a:rPr lang="en-GB" sz="1100" dirty="0">
                <a:solidFill>
                  <a:schemeClr val="tx1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chemeClr val="tx1"/>
                </a:solidFill>
                <a:latin typeface="Century Gothic" panose="020F0302020204030204"/>
              </a:rPr>
              <a:t>semestre</a:t>
            </a:r>
            <a:r>
              <a:rPr lang="en-GB" sz="1100" dirty="0">
                <a:solidFill>
                  <a:schemeClr val="tx1"/>
                </a:solidFill>
                <a:latin typeface="Century Gothic" panose="020F0302020204030204"/>
              </a:rPr>
              <a:t> del </a:t>
            </a:r>
            <a:r>
              <a:rPr lang="en-GB" sz="1100" dirty="0" err="1">
                <a:solidFill>
                  <a:schemeClr val="tx1"/>
                </a:solidFill>
                <a:latin typeface="Century Gothic" panose="020F0302020204030204"/>
              </a:rPr>
              <a:t>año</a:t>
            </a:r>
            <a:r>
              <a:rPr lang="en-GB" sz="1100" dirty="0">
                <a:solidFill>
                  <a:schemeClr val="tx1"/>
                </a:solidFill>
                <a:latin typeface="Century Gothic" panose="020F0302020204030204"/>
              </a:rPr>
              <a:t>, </a:t>
            </a:r>
            <a:r>
              <a:rPr lang="en-GB" sz="1100" dirty="0" err="1">
                <a:solidFill>
                  <a:schemeClr val="tx1"/>
                </a:solidFill>
                <a:latin typeface="Century Gothic" panose="020F0302020204030204"/>
              </a:rPr>
              <a:t>durante</a:t>
            </a:r>
            <a:r>
              <a:rPr lang="en-GB" sz="1100" dirty="0">
                <a:solidFill>
                  <a:schemeClr val="tx1"/>
                </a:solidFill>
                <a:latin typeface="Century Gothic" panose="020F0302020204030204"/>
              </a:rPr>
              <a:t> el 2023 y hasta la </a:t>
            </a:r>
            <a:r>
              <a:rPr lang="en-GB" sz="1100" dirty="0" err="1">
                <a:solidFill>
                  <a:schemeClr val="tx1"/>
                </a:solidFill>
                <a:latin typeface="Century Gothic" panose="020F0302020204030204"/>
              </a:rPr>
              <a:t>fecha</a:t>
            </a:r>
            <a:r>
              <a:rPr lang="en-GB" sz="1100" dirty="0">
                <a:solidFill>
                  <a:schemeClr val="tx1"/>
                </a:solidFill>
                <a:latin typeface="Century Gothic" panose="020F0302020204030204"/>
              </a:rPr>
              <a:t> no </a:t>
            </a:r>
            <a:r>
              <a:rPr lang="en-GB" sz="1100" dirty="0" err="1">
                <a:solidFill>
                  <a:schemeClr val="tx1"/>
                </a:solidFill>
                <a:latin typeface="Century Gothic" panose="020F0302020204030204"/>
              </a:rPr>
              <a:t>presentan</a:t>
            </a:r>
            <a:r>
              <a:rPr lang="en-GB" sz="1100" dirty="0">
                <a:solidFill>
                  <a:schemeClr val="tx1"/>
                </a:solidFill>
                <a:latin typeface="Century Gothic" panose="020F0302020204030204"/>
              </a:rPr>
              <a:t> </a:t>
            </a:r>
            <a:r>
              <a:rPr lang="en-GB" sz="1100" dirty="0" err="1">
                <a:solidFill>
                  <a:schemeClr val="tx1"/>
                </a:solidFill>
                <a:latin typeface="Century Gothic" panose="020F0302020204030204"/>
              </a:rPr>
              <a:t>actividad</a:t>
            </a:r>
            <a:endParaRPr kumimoji="0" lang="en-GB" sz="11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A2CD6F3E-F40D-BF82-AC1C-93BCE6C0FF5D}"/>
              </a:ext>
            </a:extLst>
          </p:cNvPr>
          <p:cNvSpPr txBox="1"/>
          <p:nvPr/>
        </p:nvSpPr>
        <p:spPr>
          <a:xfrm>
            <a:off x="11017769" y="672761"/>
            <a:ext cx="637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dirty="0"/>
              <a:t>HN</a:t>
            </a:r>
            <a:endParaRPr lang="es-MX" dirty="0"/>
          </a:p>
        </p:txBody>
      </p:sp>
      <p:pic>
        <p:nvPicPr>
          <p:cNvPr id="5" name="Picture 4" descr="Ogilvy - UNA">
            <a:extLst>
              <a:ext uri="{FF2B5EF4-FFF2-40B4-BE49-F238E27FC236}">
                <a16:creationId xmlns:a16="http://schemas.microsoft.com/office/drawing/2014/main" id="{7F05AB08-515E-CC60-022D-DDAD622276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905" y="6392847"/>
            <a:ext cx="748747" cy="292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7">
            <a:extLst>
              <a:ext uri="{FF2B5EF4-FFF2-40B4-BE49-F238E27FC236}">
                <a16:creationId xmlns:a16="http://schemas.microsoft.com/office/drawing/2014/main" id="{398BA548-1086-02F7-6B33-23A2D122C0E9}"/>
              </a:ext>
            </a:extLst>
          </p:cNvPr>
          <p:cNvSpPr/>
          <p:nvPr/>
        </p:nvSpPr>
        <p:spPr>
          <a:xfrm>
            <a:off x="641356" y="923807"/>
            <a:ext cx="3507914" cy="35995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FFFFFF"/>
                </a:solidFill>
                <a:latin typeface="Century Gothic" panose="020F0302020204030204"/>
              </a:rPr>
              <a:t>BRAND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OI/SOV TREN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3" name="Rectangle 117">
            <a:extLst>
              <a:ext uri="{FF2B5EF4-FFF2-40B4-BE49-F238E27FC236}">
                <a16:creationId xmlns:a16="http://schemas.microsoft.com/office/drawing/2014/main" id="{CC342237-DA35-0390-9AD1-351CA98BCE16}"/>
              </a:ext>
            </a:extLst>
          </p:cNvPr>
          <p:cNvSpPr/>
          <p:nvPr/>
        </p:nvSpPr>
        <p:spPr>
          <a:xfrm>
            <a:off x="4374432" y="923806"/>
            <a:ext cx="3507914" cy="35995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FY 2022 MEDIA MIX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4" name="Rectangle 117">
            <a:extLst>
              <a:ext uri="{FF2B5EF4-FFF2-40B4-BE49-F238E27FC236}">
                <a16:creationId xmlns:a16="http://schemas.microsoft.com/office/drawing/2014/main" id="{2F4DB843-B9A7-18D3-D92B-90E34DBDA756}"/>
              </a:ext>
            </a:extLst>
          </p:cNvPr>
          <p:cNvSpPr/>
          <p:nvPr/>
        </p:nvSpPr>
        <p:spPr>
          <a:xfrm>
            <a:off x="8095195" y="923805"/>
            <a:ext cx="3507914" cy="35995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stacionalidad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06FE1FC8-E665-4B4E-80CD-8037AA5B9DB5}"/>
              </a:ext>
            </a:extLst>
          </p:cNvPr>
          <p:cNvSpPr txBox="1"/>
          <p:nvPr/>
        </p:nvSpPr>
        <p:spPr>
          <a:xfrm>
            <a:off x="11017769" y="672761"/>
            <a:ext cx="637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dirty="0"/>
              <a:t>HN</a:t>
            </a:r>
            <a:endParaRPr lang="es-MX" dirty="0"/>
          </a:p>
        </p:txBody>
      </p:sp>
      <p:pic>
        <p:nvPicPr>
          <p:cNvPr id="24" name="Picture 129">
            <a:extLst>
              <a:ext uri="{FF2B5EF4-FFF2-40B4-BE49-F238E27FC236}">
                <a16:creationId xmlns:a16="http://schemas.microsoft.com/office/drawing/2014/main" id="{2CF22584-F100-6F49-8220-58ACCD580E9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11051697" y="300603"/>
            <a:ext cx="388372" cy="388372"/>
          </a:xfrm>
          <a:prstGeom prst="rect">
            <a:avLst/>
          </a:prstGeom>
        </p:spPr>
      </p:pic>
      <p:graphicFrame>
        <p:nvGraphicFramePr>
          <p:cNvPr id="2" name="Gráfico 1">
            <a:extLst>
              <a:ext uri="{FF2B5EF4-FFF2-40B4-BE49-F238E27FC236}">
                <a16:creationId xmlns:a16="http://schemas.microsoft.com/office/drawing/2014/main" id="{5D56EA29-EFAB-554D-A5AB-8013D5EDFE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30579106"/>
              </p:ext>
            </p:extLst>
          </p:nvPr>
        </p:nvGraphicFramePr>
        <p:xfrm>
          <a:off x="8180257" y="1981503"/>
          <a:ext cx="3507915" cy="21010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Gráfico 24">
            <a:extLst>
              <a:ext uri="{FF2B5EF4-FFF2-40B4-BE49-F238E27FC236}">
                <a16:creationId xmlns:a16="http://schemas.microsoft.com/office/drawing/2014/main" id="{78B0F339-6008-B345-9554-92211B5055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06563858"/>
              </p:ext>
            </p:extLst>
          </p:nvPr>
        </p:nvGraphicFramePr>
        <p:xfrm>
          <a:off x="504348" y="1465814"/>
          <a:ext cx="3507915" cy="27737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5" name="CuadroTexto 14">
            <a:extLst>
              <a:ext uri="{FF2B5EF4-FFF2-40B4-BE49-F238E27FC236}">
                <a16:creationId xmlns:a16="http://schemas.microsoft.com/office/drawing/2014/main" id="{4E5DF726-AC6C-4F4A-BE4F-0484F303C566}"/>
              </a:ext>
            </a:extLst>
          </p:cNvPr>
          <p:cNvSpPr txBox="1"/>
          <p:nvPr/>
        </p:nvSpPr>
        <p:spPr>
          <a:xfrm>
            <a:off x="10743495" y="1820119"/>
            <a:ext cx="55816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800" b="1" dirty="0"/>
              <a:t>FY 2022</a:t>
            </a:r>
          </a:p>
        </p:txBody>
      </p:sp>
    </p:spTree>
    <p:extLst>
      <p:ext uri="{BB962C8B-B14F-4D97-AF65-F5344CB8AC3E}">
        <p14:creationId xmlns:p14="http://schemas.microsoft.com/office/powerpoint/2010/main" val="3345965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7C89D8-F472-3A70-A53D-530C2A8461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ource: </a:t>
            </a:r>
          </a:p>
        </p:txBody>
      </p:sp>
      <p:pic>
        <p:nvPicPr>
          <p:cNvPr id="19" name="Picture Placeholder 18" descr="A picture containing person, plant, flower&#10;&#10;Description automatically generated">
            <a:extLst>
              <a:ext uri="{FF2B5EF4-FFF2-40B4-BE49-F238E27FC236}">
                <a16:creationId xmlns:a16="http://schemas.microsoft.com/office/drawing/2014/main" id="{069D9907-3284-6699-C397-0127CDCDDB1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t="21301" b="21301"/>
          <a:stretch/>
        </p:blipFill>
        <p:spPr/>
      </p:pic>
      <p:pic>
        <p:nvPicPr>
          <p:cNvPr id="28" name="Picture Placeholder 27" descr="A picture containing accessory&#10;&#10;Description automatically generated">
            <a:extLst>
              <a:ext uri="{FF2B5EF4-FFF2-40B4-BE49-F238E27FC236}">
                <a16:creationId xmlns:a16="http://schemas.microsoft.com/office/drawing/2014/main" id="{13A0ECF3-B09D-6176-4ACC-DD8D0A9060D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" r="9"/>
          <a:stretch/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EC4E6A-3A0B-0ADC-3A3A-2D14C4ABECA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1"/>
            <a:r>
              <a:rPr lang="en-GB" sz="3200" b="1"/>
              <a:t>Audiencia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7508489-30D8-C057-667D-17E548F289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90E8977-A842-5960-D47B-7453C391771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/>
              <a:t>02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0DBAEA-A844-2329-F2A9-D036C6BFF4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DCD8D13-AB54-5F93-323B-56F26FC1CC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127B2EA-5794-481B-6046-53ED83435F9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0" y="3432600"/>
            <a:ext cx="6418799" cy="343535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93970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Diagram 38">
            <a:extLst>
              <a:ext uri="{FF2B5EF4-FFF2-40B4-BE49-F238E27FC236}">
                <a16:creationId xmlns:a16="http://schemas.microsoft.com/office/drawing/2014/main" id="{EF68B39E-D1AA-FBC7-798E-6B7F67BF88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5274410"/>
              </p:ext>
            </p:extLst>
          </p:nvPr>
        </p:nvGraphicFramePr>
        <p:xfrm>
          <a:off x="4177919" y="1231034"/>
          <a:ext cx="4161575" cy="50712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11E6DCF6-B146-4532-422A-38B9CA305B67}"/>
              </a:ext>
            </a:extLst>
          </p:cNvPr>
          <p:cNvSpPr txBox="1">
            <a:spLocks/>
          </p:cNvSpPr>
          <p:nvPr/>
        </p:nvSpPr>
        <p:spPr>
          <a:xfrm>
            <a:off x="744729" y="76639"/>
            <a:ext cx="6989532" cy="11755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lnSpc>
                <a:spcPct val="70000"/>
              </a:lnSpc>
            </a:pPr>
            <a:r>
              <a:rPr lang="de-CH" sz="3200">
                <a:latin typeface="+mn-lt"/>
              </a:rPr>
              <a:t>Funnel – Activación táctica</a:t>
            </a:r>
            <a:br>
              <a:rPr lang="de-CH" sz="3200">
                <a:latin typeface="+mn-lt"/>
              </a:rPr>
            </a:br>
            <a:endParaRPr lang="de-CH" sz="1800">
              <a:latin typeface="+mn-lt"/>
              <a:cs typeface="72" panose="020B0503030000000003" pitchFamily="34" charset="0"/>
            </a:endParaRPr>
          </a:p>
        </p:txBody>
      </p:sp>
      <p:sp>
        <p:nvSpPr>
          <p:cNvPr id="35" name="Google Shape;1856;p241">
            <a:extLst>
              <a:ext uri="{FF2B5EF4-FFF2-40B4-BE49-F238E27FC236}">
                <a16:creationId xmlns:a16="http://schemas.microsoft.com/office/drawing/2014/main" id="{94D12A16-A6F3-4492-5134-CD1EB35B06FD}"/>
              </a:ext>
            </a:extLst>
          </p:cNvPr>
          <p:cNvSpPr/>
          <p:nvPr/>
        </p:nvSpPr>
        <p:spPr>
          <a:xfrm>
            <a:off x="868324" y="1089114"/>
            <a:ext cx="249848" cy="253290"/>
          </a:xfrm>
          <a:custGeom>
            <a:avLst/>
            <a:gdLst/>
            <a:ahLst/>
            <a:cxnLst/>
            <a:rect l="l" t="t" r="r" b="b"/>
            <a:pathLst>
              <a:path w="353" h="353" extrusionOk="0">
                <a:moveTo>
                  <a:pt x="305" y="144"/>
                </a:moveTo>
                <a:cubicBezTo>
                  <a:pt x="296" y="144"/>
                  <a:pt x="289" y="151"/>
                  <a:pt x="289" y="160"/>
                </a:cubicBezTo>
                <a:cubicBezTo>
                  <a:pt x="289" y="169"/>
                  <a:pt x="296" y="176"/>
                  <a:pt x="305" y="176"/>
                </a:cubicBezTo>
                <a:cubicBezTo>
                  <a:pt x="313" y="176"/>
                  <a:pt x="321" y="169"/>
                  <a:pt x="321" y="160"/>
                </a:cubicBezTo>
                <a:cubicBezTo>
                  <a:pt x="321" y="151"/>
                  <a:pt x="313" y="144"/>
                  <a:pt x="305" y="144"/>
                </a:cubicBezTo>
                <a:moveTo>
                  <a:pt x="224" y="144"/>
                </a:moveTo>
                <a:cubicBezTo>
                  <a:pt x="48" y="144"/>
                  <a:pt x="48" y="144"/>
                  <a:pt x="48" y="144"/>
                </a:cubicBezTo>
                <a:cubicBezTo>
                  <a:pt x="48" y="305"/>
                  <a:pt x="48" y="305"/>
                  <a:pt x="48" y="305"/>
                </a:cubicBezTo>
                <a:cubicBezTo>
                  <a:pt x="224" y="305"/>
                  <a:pt x="224" y="305"/>
                  <a:pt x="224" y="305"/>
                </a:cubicBezTo>
                <a:lnTo>
                  <a:pt x="224" y="144"/>
                </a:lnTo>
                <a:close/>
                <a:moveTo>
                  <a:pt x="208" y="289"/>
                </a:moveTo>
                <a:cubicBezTo>
                  <a:pt x="64" y="289"/>
                  <a:pt x="64" y="289"/>
                  <a:pt x="64" y="289"/>
                </a:cubicBezTo>
                <a:cubicBezTo>
                  <a:pt x="64" y="160"/>
                  <a:pt x="64" y="160"/>
                  <a:pt x="64" y="160"/>
                </a:cubicBezTo>
                <a:cubicBezTo>
                  <a:pt x="208" y="160"/>
                  <a:pt x="208" y="160"/>
                  <a:pt x="208" y="160"/>
                </a:cubicBezTo>
                <a:lnTo>
                  <a:pt x="208" y="289"/>
                </a:lnTo>
                <a:close/>
                <a:moveTo>
                  <a:pt x="321" y="96"/>
                </a:moveTo>
                <a:cubicBezTo>
                  <a:pt x="215" y="96"/>
                  <a:pt x="215" y="96"/>
                  <a:pt x="215" y="96"/>
                </a:cubicBezTo>
                <a:cubicBezTo>
                  <a:pt x="213" y="85"/>
                  <a:pt x="207" y="76"/>
                  <a:pt x="197" y="70"/>
                </a:cubicBezTo>
                <a:cubicBezTo>
                  <a:pt x="236" y="31"/>
                  <a:pt x="236" y="31"/>
                  <a:pt x="236" y="31"/>
                </a:cubicBezTo>
                <a:cubicBezTo>
                  <a:pt x="238" y="32"/>
                  <a:pt x="239" y="32"/>
                  <a:pt x="240" y="32"/>
                </a:cubicBezTo>
                <a:cubicBezTo>
                  <a:pt x="249" y="32"/>
                  <a:pt x="256" y="25"/>
                  <a:pt x="256" y="16"/>
                </a:cubicBezTo>
                <a:cubicBezTo>
                  <a:pt x="256" y="7"/>
                  <a:pt x="249" y="0"/>
                  <a:pt x="240" y="0"/>
                </a:cubicBezTo>
                <a:cubicBezTo>
                  <a:pt x="232" y="0"/>
                  <a:pt x="224" y="7"/>
                  <a:pt x="224" y="16"/>
                </a:cubicBezTo>
                <a:cubicBezTo>
                  <a:pt x="224" y="17"/>
                  <a:pt x="225" y="19"/>
                  <a:pt x="225" y="20"/>
                </a:cubicBezTo>
                <a:cubicBezTo>
                  <a:pt x="180" y="64"/>
                  <a:pt x="180" y="64"/>
                  <a:pt x="180" y="64"/>
                </a:cubicBezTo>
                <a:cubicBezTo>
                  <a:pt x="179" y="64"/>
                  <a:pt x="178" y="64"/>
                  <a:pt x="176" y="64"/>
                </a:cubicBezTo>
                <a:cubicBezTo>
                  <a:pt x="175" y="64"/>
                  <a:pt x="173" y="64"/>
                  <a:pt x="172" y="64"/>
                </a:cubicBezTo>
                <a:cubicBezTo>
                  <a:pt x="127" y="20"/>
                  <a:pt x="127" y="20"/>
                  <a:pt x="127" y="20"/>
                </a:cubicBezTo>
                <a:cubicBezTo>
                  <a:pt x="128" y="19"/>
                  <a:pt x="128" y="17"/>
                  <a:pt x="128" y="16"/>
                </a:cubicBezTo>
                <a:cubicBezTo>
                  <a:pt x="128" y="7"/>
                  <a:pt x="121" y="0"/>
                  <a:pt x="112" y="0"/>
                </a:cubicBezTo>
                <a:cubicBezTo>
                  <a:pt x="103" y="0"/>
                  <a:pt x="96" y="7"/>
                  <a:pt x="96" y="16"/>
                </a:cubicBezTo>
                <a:cubicBezTo>
                  <a:pt x="96" y="25"/>
                  <a:pt x="103" y="32"/>
                  <a:pt x="112" y="32"/>
                </a:cubicBezTo>
                <a:cubicBezTo>
                  <a:pt x="113" y="32"/>
                  <a:pt x="115" y="32"/>
                  <a:pt x="116" y="31"/>
                </a:cubicBezTo>
                <a:cubicBezTo>
                  <a:pt x="155" y="70"/>
                  <a:pt x="155" y="70"/>
                  <a:pt x="155" y="70"/>
                </a:cubicBezTo>
                <a:cubicBezTo>
                  <a:pt x="146" y="76"/>
                  <a:pt x="139" y="85"/>
                  <a:pt x="137" y="96"/>
                </a:cubicBezTo>
                <a:cubicBezTo>
                  <a:pt x="32" y="96"/>
                  <a:pt x="32" y="96"/>
                  <a:pt x="32" y="96"/>
                </a:cubicBezTo>
                <a:cubicBezTo>
                  <a:pt x="14" y="96"/>
                  <a:pt x="0" y="110"/>
                  <a:pt x="0" y="128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4" y="353"/>
                  <a:pt x="32" y="353"/>
                </a:cubicBezTo>
                <a:cubicBezTo>
                  <a:pt x="321" y="353"/>
                  <a:pt x="321" y="353"/>
                  <a:pt x="321" y="353"/>
                </a:cubicBezTo>
                <a:cubicBezTo>
                  <a:pt x="338" y="353"/>
                  <a:pt x="353" y="339"/>
                  <a:pt x="353" y="321"/>
                </a:cubicBezTo>
                <a:cubicBezTo>
                  <a:pt x="353" y="128"/>
                  <a:pt x="353" y="128"/>
                  <a:pt x="353" y="128"/>
                </a:cubicBezTo>
                <a:cubicBezTo>
                  <a:pt x="353" y="110"/>
                  <a:pt x="338" y="96"/>
                  <a:pt x="321" y="96"/>
                </a:cubicBezTo>
                <a:moveTo>
                  <a:pt x="256" y="337"/>
                </a:moveTo>
                <a:cubicBezTo>
                  <a:pt x="32" y="337"/>
                  <a:pt x="32" y="337"/>
                  <a:pt x="32" y="337"/>
                </a:cubicBezTo>
                <a:cubicBezTo>
                  <a:pt x="23" y="337"/>
                  <a:pt x="16" y="330"/>
                  <a:pt x="16" y="321"/>
                </a:cubicBezTo>
                <a:cubicBezTo>
                  <a:pt x="16" y="128"/>
                  <a:pt x="16" y="128"/>
                  <a:pt x="16" y="128"/>
                </a:cubicBezTo>
                <a:cubicBezTo>
                  <a:pt x="16" y="119"/>
                  <a:pt x="23" y="112"/>
                  <a:pt x="32" y="112"/>
                </a:cubicBezTo>
                <a:cubicBezTo>
                  <a:pt x="256" y="112"/>
                  <a:pt x="256" y="112"/>
                  <a:pt x="256" y="112"/>
                </a:cubicBezTo>
                <a:lnTo>
                  <a:pt x="256" y="337"/>
                </a:lnTo>
                <a:close/>
                <a:moveTo>
                  <a:pt x="337" y="321"/>
                </a:moveTo>
                <a:cubicBezTo>
                  <a:pt x="337" y="330"/>
                  <a:pt x="330" y="337"/>
                  <a:pt x="321" y="337"/>
                </a:cubicBezTo>
                <a:cubicBezTo>
                  <a:pt x="273" y="337"/>
                  <a:pt x="273" y="337"/>
                  <a:pt x="273" y="337"/>
                </a:cubicBezTo>
                <a:cubicBezTo>
                  <a:pt x="273" y="112"/>
                  <a:pt x="273" y="112"/>
                  <a:pt x="273" y="112"/>
                </a:cubicBezTo>
                <a:cubicBezTo>
                  <a:pt x="321" y="112"/>
                  <a:pt x="321" y="112"/>
                  <a:pt x="321" y="112"/>
                </a:cubicBezTo>
                <a:cubicBezTo>
                  <a:pt x="330" y="112"/>
                  <a:pt x="337" y="119"/>
                  <a:pt x="337" y="128"/>
                </a:cubicBezTo>
                <a:lnTo>
                  <a:pt x="337" y="321"/>
                </a:lnTo>
                <a:close/>
                <a:moveTo>
                  <a:pt x="305" y="225"/>
                </a:moveTo>
                <a:cubicBezTo>
                  <a:pt x="300" y="225"/>
                  <a:pt x="297" y="228"/>
                  <a:pt x="297" y="233"/>
                </a:cubicBezTo>
                <a:cubicBezTo>
                  <a:pt x="297" y="237"/>
                  <a:pt x="300" y="241"/>
                  <a:pt x="305" y="241"/>
                </a:cubicBezTo>
                <a:cubicBezTo>
                  <a:pt x="309" y="241"/>
                  <a:pt x="313" y="237"/>
                  <a:pt x="313" y="233"/>
                </a:cubicBezTo>
                <a:cubicBezTo>
                  <a:pt x="313" y="228"/>
                  <a:pt x="309" y="225"/>
                  <a:pt x="305" y="225"/>
                </a:cubicBezTo>
                <a:moveTo>
                  <a:pt x="305" y="192"/>
                </a:moveTo>
                <a:cubicBezTo>
                  <a:pt x="300" y="192"/>
                  <a:pt x="297" y="196"/>
                  <a:pt x="297" y="200"/>
                </a:cubicBezTo>
                <a:cubicBezTo>
                  <a:pt x="297" y="205"/>
                  <a:pt x="300" y="208"/>
                  <a:pt x="305" y="208"/>
                </a:cubicBezTo>
                <a:cubicBezTo>
                  <a:pt x="309" y="208"/>
                  <a:pt x="313" y="205"/>
                  <a:pt x="313" y="200"/>
                </a:cubicBezTo>
                <a:cubicBezTo>
                  <a:pt x="313" y="196"/>
                  <a:pt x="309" y="192"/>
                  <a:pt x="305" y="192"/>
                </a:cubicBezTo>
              </a:path>
            </a:pathLst>
          </a:custGeom>
          <a:solidFill>
            <a:sysClr val="windowText" lastClr="00000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  <a:tabLst/>
              <a:defRPr/>
            </a:pPr>
            <a:endParaRPr kumimoji="0" lang="es-GT" sz="13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" name="Google Shape;1282;p221">
            <a:extLst>
              <a:ext uri="{FF2B5EF4-FFF2-40B4-BE49-F238E27FC236}">
                <a16:creationId xmlns:a16="http://schemas.microsoft.com/office/drawing/2014/main" id="{0C5B47AD-8A8D-FB5B-267B-188AF7BF259E}"/>
              </a:ext>
            </a:extLst>
          </p:cNvPr>
          <p:cNvSpPr txBox="1"/>
          <p:nvPr/>
        </p:nvSpPr>
        <p:spPr>
          <a:xfrm>
            <a:off x="1203795" y="989864"/>
            <a:ext cx="1014143" cy="58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lnSpc>
                <a:spcPct val="80000"/>
              </a:lnSpc>
              <a:spcBef>
                <a:spcPts val="12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800" b="1">
                <a:solidFill>
                  <a:srgbClr val="00BCFF"/>
                </a:solidFill>
                <a:ea typeface="Uber Move"/>
                <a:cs typeface="Uber Move"/>
                <a:sym typeface="Uber Move"/>
              </a:rPr>
              <a:t>OTV / PTV</a:t>
            </a:r>
            <a:endParaRPr lang="es-GT" sz="500">
              <a:solidFill>
                <a:srgbClr val="00BCFF"/>
              </a:solidFill>
              <a:ea typeface="Uber Move"/>
              <a:cs typeface="Uber Move"/>
              <a:sym typeface="Uber Move"/>
            </a:endParaRPr>
          </a:p>
          <a:p>
            <a:pPr>
              <a:lnSpc>
                <a:spcPct val="80000"/>
              </a:lnSpc>
              <a:spcBef>
                <a:spcPts val="6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700" b="1" err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GRPs</a:t>
            </a:r>
            <a:r>
              <a:rPr lang="es-GT" sz="700" b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 20” = 1,009</a:t>
            </a:r>
          </a:p>
          <a:p>
            <a:pPr>
              <a:lnSpc>
                <a:spcPct val="80000"/>
              </a:lnSpc>
              <a:spcBef>
                <a:spcPts val="6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700" b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R1+ = 60%</a:t>
            </a:r>
          </a:p>
        </p:txBody>
      </p:sp>
      <p:sp>
        <p:nvSpPr>
          <p:cNvPr id="37" name="Google Shape;1282;p221">
            <a:extLst>
              <a:ext uri="{FF2B5EF4-FFF2-40B4-BE49-F238E27FC236}">
                <a16:creationId xmlns:a16="http://schemas.microsoft.com/office/drawing/2014/main" id="{731B3C88-7000-7B92-2114-59114B24552F}"/>
              </a:ext>
            </a:extLst>
          </p:cNvPr>
          <p:cNvSpPr txBox="1"/>
          <p:nvPr/>
        </p:nvSpPr>
        <p:spPr>
          <a:xfrm>
            <a:off x="9617271" y="779157"/>
            <a:ext cx="932229" cy="1130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lnSpc>
                <a:spcPct val="80000"/>
              </a:lnSpc>
              <a:spcBef>
                <a:spcPts val="1200"/>
              </a:spcBef>
              <a:buClr>
                <a:srgbClr val="929292"/>
              </a:buClr>
              <a:buSzPts val="800"/>
              <a:defRPr/>
            </a:pPr>
            <a:r>
              <a:rPr lang="es-GT" sz="800" b="1">
                <a:solidFill>
                  <a:srgbClr val="00BCFF"/>
                </a:solidFill>
                <a:ea typeface="Uber Move"/>
                <a:cs typeface="Uber Move"/>
                <a:sym typeface="Uber Move"/>
              </a:rPr>
              <a:t>OOH / DIGITAL</a:t>
            </a:r>
            <a:endParaRPr lang="es-GT" sz="500">
              <a:solidFill>
                <a:srgbClr val="00BCFF"/>
              </a:solidFill>
              <a:ea typeface="Uber Move"/>
              <a:cs typeface="Uber Move"/>
              <a:sym typeface="Uber Move"/>
            </a:endParaRPr>
          </a:p>
          <a:p>
            <a:pPr>
              <a:lnSpc>
                <a:spcPct val="80000"/>
              </a:lnSpc>
              <a:spcBef>
                <a:spcPts val="6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Puertas de baños gimnasios, centros comerciales, cines, pasarelas</a:t>
            </a:r>
            <a:endParaRPr lang="es-GT" sz="700">
              <a:solidFill>
                <a:srgbClr val="0A0F0D"/>
              </a:solidFill>
              <a:ea typeface="Uber Move"/>
              <a:cs typeface="Uber Move"/>
            </a:endParaRPr>
          </a:p>
        </p:txBody>
      </p:sp>
      <p:sp>
        <p:nvSpPr>
          <p:cNvPr id="38" name="Google Shape;1282;p221">
            <a:extLst>
              <a:ext uri="{FF2B5EF4-FFF2-40B4-BE49-F238E27FC236}">
                <a16:creationId xmlns:a16="http://schemas.microsoft.com/office/drawing/2014/main" id="{2034AC0D-5F2D-C214-22C3-39BAEF377D49}"/>
              </a:ext>
            </a:extLst>
          </p:cNvPr>
          <p:cNvSpPr txBox="1"/>
          <p:nvPr/>
        </p:nvSpPr>
        <p:spPr>
          <a:xfrm>
            <a:off x="753972" y="2836191"/>
            <a:ext cx="1180200" cy="1130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lnSpc>
                <a:spcPct val="80000"/>
              </a:lnSpc>
              <a:spcBef>
                <a:spcPts val="12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800" b="1">
                <a:solidFill>
                  <a:srgbClr val="00BCFF"/>
                </a:solidFill>
                <a:ea typeface="Uber Move"/>
                <a:cs typeface="Uber Move"/>
                <a:sym typeface="Uber Move"/>
              </a:rPr>
              <a:t>EVENT ACTIVATION</a:t>
            </a:r>
            <a:endParaRPr lang="es-GT" sz="500">
              <a:solidFill>
                <a:srgbClr val="00BCFF"/>
              </a:solidFill>
              <a:ea typeface="Uber Move"/>
              <a:cs typeface="Uber Move"/>
              <a:sym typeface="Uber Move"/>
            </a:endParaRPr>
          </a:p>
          <a:p>
            <a:pPr>
              <a:lnSpc>
                <a:spcPct val="80000"/>
              </a:lnSpc>
              <a:spcBef>
                <a:spcPts val="6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Activaciones charlas a colegios</a:t>
            </a:r>
          </a:p>
        </p:txBody>
      </p:sp>
      <p:sp>
        <p:nvSpPr>
          <p:cNvPr id="39" name="Rectangle 32">
            <a:extLst>
              <a:ext uri="{FF2B5EF4-FFF2-40B4-BE49-F238E27FC236}">
                <a16:creationId xmlns:a16="http://schemas.microsoft.com/office/drawing/2014/main" id="{69E1764E-4F64-C3D8-9603-C1A933592314}"/>
              </a:ext>
            </a:extLst>
          </p:cNvPr>
          <p:cNvSpPr/>
          <p:nvPr/>
        </p:nvSpPr>
        <p:spPr>
          <a:xfrm>
            <a:off x="11022453" y="2894265"/>
            <a:ext cx="1068227" cy="1716912"/>
          </a:xfrm>
          <a:prstGeom prst="rect">
            <a:avLst/>
          </a:prstGeom>
          <a:noFill/>
          <a:ln w="1905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GT" sz="16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0" name="Straight Arrow Connector 36">
            <a:extLst>
              <a:ext uri="{FF2B5EF4-FFF2-40B4-BE49-F238E27FC236}">
                <a16:creationId xmlns:a16="http://schemas.microsoft.com/office/drawing/2014/main" id="{D1C569A6-85DE-B9E0-5174-23CACB718C4E}"/>
              </a:ext>
            </a:extLst>
          </p:cNvPr>
          <p:cNvCxnSpPr/>
          <p:nvPr/>
        </p:nvCxnSpPr>
        <p:spPr>
          <a:xfrm>
            <a:off x="537127" y="2926155"/>
            <a:ext cx="10129031" cy="0"/>
          </a:xfrm>
          <a:prstGeom prst="straightConnector1">
            <a:avLst/>
          </a:prstGeom>
          <a:noFill/>
          <a:ln w="1905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1" name="Straight Arrow Connector 39">
            <a:extLst>
              <a:ext uri="{FF2B5EF4-FFF2-40B4-BE49-F238E27FC236}">
                <a16:creationId xmlns:a16="http://schemas.microsoft.com/office/drawing/2014/main" id="{251D07DF-D649-BF7B-17D4-B9D794999FF6}"/>
              </a:ext>
            </a:extLst>
          </p:cNvPr>
          <p:cNvCxnSpPr/>
          <p:nvPr/>
        </p:nvCxnSpPr>
        <p:spPr>
          <a:xfrm>
            <a:off x="835820" y="4611177"/>
            <a:ext cx="10129031" cy="0"/>
          </a:xfrm>
          <a:prstGeom prst="straightConnector1">
            <a:avLst/>
          </a:prstGeom>
          <a:noFill/>
          <a:ln w="1905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42" name="Grupo 41">
            <a:extLst>
              <a:ext uri="{FF2B5EF4-FFF2-40B4-BE49-F238E27FC236}">
                <a16:creationId xmlns:a16="http://schemas.microsoft.com/office/drawing/2014/main" id="{06203FA5-8DA9-8CD7-0761-BB8FBD8F88EC}"/>
              </a:ext>
            </a:extLst>
          </p:cNvPr>
          <p:cNvGrpSpPr/>
          <p:nvPr/>
        </p:nvGrpSpPr>
        <p:grpSpPr>
          <a:xfrm>
            <a:off x="3320719" y="2859276"/>
            <a:ext cx="1742073" cy="604207"/>
            <a:chOff x="2890537" y="2893512"/>
            <a:chExt cx="1742073" cy="604207"/>
          </a:xfrm>
        </p:grpSpPr>
        <p:sp>
          <p:nvSpPr>
            <p:cNvPr id="43" name="Google Shape;1282;p221">
              <a:extLst>
                <a:ext uri="{FF2B5EF4-FFF2-40B4-BE49-F238E27FC236}">
                  <a16:creationId xmlns:a16="http://schemas.microsoft.com/office/drawing/2014/main" id="{3FF7468B-6372-5F31-197B-A7448826A7FA}"/>
                </a:ext>
              </a:extLst>
            </p:cNvPr>
            <p:cNvSpPr txBox="1"/>
            <p:nvPr/>
          </p:nvSpPr>
          <p:spPr>
            <a:xfrm>
              <a:off x="3202066" y="2893512"/>
              <a:ext cx="1430544" cy="589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9050" tIns="19050" rIns="19050" bIns="19050" anchor="t" anchorCtr="0">
              <a:noAutofit/>
            </a:bodyPr>
            <a:lstStyle/>
            <a:p>
              <a:pPr>
                <a:lnSpc>
                  <a:spcPct val="80000"/>
                </a:lnSpc>
                <a:spcBef>
                  <a:spcPts val="12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800" b="1">
                  <a:solidFill>
                    <a:srgbClr val="00BCFF"/>
                  </a:solidFill>
                  <a:ea typeface="Uber Move"/>
                  <a:cs typeface="Uber Move"/>
                  <a:sym typeface="Uber Move"/>
                </a:rPr>
                <a:t>SOCIAL OLV</a:t>
              </a:r>
              <a:endParaRPr lang="es-GT" sz="500">
                <a:solidFill>
                  <a:srgbClr val="00BCFF"/>
                </a:solidFill>
                <a:ea typeface="Uber Move"/>
                <a:cs typeface="Uber Move"/>
                <a:sym typeface="Uber Move"/>
              </a:endParaRPr>
            </a:p>
            <a:p>
              <a:pPr>
                <a:lnSpc>
                  <a:spcPct val="80000"/>
                </a:lnSpc>
                <a:spcBef>
                  <a:spcPts val="6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700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Formatos de video con diferentes optimizaciones por R/F, segmentado por HVA</a:t>
              </a:r>
            </a:p>
            <a:p>
              <a:pPr>
                <a:lnSpc>
                  <a:spcPct val="80000"/>
                </a:lnSpc>
                <a:spcBef>
                  <a:spcPts val="6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700" b="1" err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KPIs</a:t>
              </a:r>
              <a:r>
                <a:rPr lang="es-GT" sz="700" b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: </a:t>
              </a:r>
              <a:r>
                <a:rPr lang="es-GT" sz="700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VTR </a:t>
              </a:r>
            </a:p>
            <a:p>
              <a:pPr>
                <a:lnSpc>
                  <a:spcPct val="80000"/>
                </a:lnSpc>
                <a:spcBef>
                  <a:spcPts val="6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700" b="1" err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Measurement</a:t>
              </a:r>
              <a:r>
                <a:rPr lang="es-GT" sz="700" b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: </a:t>
              </a:r>
            </a:p>
            <a:p>
              <a:pPr>
                <a:lnSpc>
                  <a:spcPct val="80000"/>
                </a:lnSpc>
                <a:spcBef>
                  <a:spcPts val="6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700" err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Consideration</a:t>
              </a:r>
              <a:endPara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endParaRPr>
            </a:p>
          </p:txBody>
        </p:sp>
        <p:grpSp>
          <p:nvGrpSpPr>
            <p:cNvPr id="44" name="Grupo 43">
              <a:extLst>
                <a:ext uri="{FF2B5EF4-FFF2-40B4-BE49-F238E27FC236}">
                  <a16:creationId xmlns:a16="http://schemas.microsoft.com/office/drawing/2014/main" id="{FE44755F-A3C6-1D58-EC2C-893A659D4444}"/>
                </a:ext>
              </a:extLst>
            </p:cNvPr>
            <p:cNvGrpSpPr/>
            <p:nvPr/>
          </p:nvGrpSpPr>
          <p:grpSpPr>
            <a:xfrm>
              <a:off x="2890537" y="3022810"/>
              <a:ext cx="325049" cy="474909"/>
              <a:chOff x="2163447" y="2687033"/>
              <a:chExt cx="325049" cy="474909"/>
            </a:xfrm>
          </p:grpSpPr>
          <p:pic>
            <p:nvPicPr>
              <p:cNvPr id="45" name="Picture 2" descr="Meta logo transparent PNG - StickPNG">
                <a:extLst>
                  <a:ext uri="{FF2B5EF4-FFF2-40B4-BE49-F238E27FC236}">
                    <a16:creationId xmlns:a16="http://schemas.microsoft.com/office/drawing/2014/main" id="{B637D769-D15B-FDFE-0FD9-F4A3DC08E5C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63447" y="2687033"/>
                <a:ext cx="325049" cy="1828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6" name="Picture 4" descr="TikTok logo on transparent background 6057996 Vector Art at ...">
                <a:extLst>
                  <a:ext uri="{FF2B5EF4-FFF2-40B4-BE49-F238E27FC236}">
                    <a16:creationId xmlns:a16="http://schemas.microsoft.com/office/drawing/2014/main" id="{273CA956-EC14-32DD-54CB-3B054BA502C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987" t="14564" r="14998" b="14564"/>
              <a:stretch/>
            </p:blipFill>
            <p:spPr bwMode="auto">
              <a:xfrm>
                <a:off x="2204869" y="2949324"/>
                <a:ext cx="210048" cy="212618"/>
              </a:xfrm>
              <a:prstGeom prst="ellipse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50" name="Grupo 49">
            <a:extLst>
              <a:ext uri="{FF2B5EF4-FFF2-40B4-BE49-F238E27FC236}">
                <a16:creationId xmlns:a16="http://schemas.microsoft.com/office/drawing/2014/main" id="{7E81B544-EE4F-334D-8219-349233A0391A}"/>
              </a:ext>
            </a:extLst>
          </p:cNvPr>
          <p:cNvGrpSpPr/>
          <p:nvPr/>
        </p:nvGrpSpPr>
        <p:grpSpPr>
          <a:xfrm>
            <a:off x="9032732" y="2838937"/>
            <a:ext cx="1432951" cy="1244620"/>
            <a:chOff x="9099695" y="3056482"/>
            <a:chExt cx="1432951" cy="1244620"/>
          </a:xfrm>
        </p:grpSpPr>
        <p:sp>
          <p:nvSpPr>
            <p:cNvPr id="51" name="Google Shape;1282;p221">
              <a:extLst>
                <a:ext uri="{FF2B5EF4-FFF2-40B4-BE49-F238E27FC236}">
                  <a16:creationId xmlns:a16="http://schemas.microsoft.com/office/drawing/2014/main" id="{67AB4F3C-1F6B-80F9-C973-570D8E8F4248}"/>
                </a:ext>
              </a:extLst>
            </p:cNvPr>
            <p:cNvSpPr txBox="1"/>
            <p:nvPr/>
          </p:nvSpPr>
          <p:spPr>
            <a:xfrm>
              <a:off x="9444490" y="3056482"/>
              <a:ext cx="1088156" cy="12446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9050" tIns="19050" rIns="19050" bIns="19050" anchor="t" anchorCtr="0">
              <a:noAutofit/>
            </a:bodyPr>
            <a:lstStyle/>
            <a:p>
              <a:pPr>
                <a:lnSpc>
                  <a:spcPct val="80000"/>
                </a:lnSpc>
                <a:spcBef>
                  <a:spcPts val="12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800" b="1">
                  <a:solidFill>
                    <a:srgbClr val="00BCFF"/>
                  </a:solidFill>
                  <a:ea typeface="Uber Move"/>
                  <a:cs typeface="Uber Move"/>
                  <a:sym typeface="Uber Move"/>
                </a:rPr>
                <a:t>INFLUENCERS + DIGITAL CONTENT </a:t>
              </a:r>
              <a:br>
                <a:rPr lang="es-GT" sz="800" b="1">
                  <a:solidFill>
                    <a:srgbClr val="00BCFF"/>
                  </a:solidFill>
                  <a:ea typeface="Uber Move"/>
                  <a:cs typeface="Uber Move"/>
                  <a:sym typeface="Uber Move"/>
                </a:rPr>
              </a:br>
              <a:endPara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endParaRPr>
            </a:p>
          </p:txBody>
        </p:sp>
        <p:pic>
          <p:nvPicPr>
            <p:cNvPr id="52" name="Picture 4" descr="Influencer xnimrodx Lineal icon">
              <a:extLst>
                <a:ext uri="{FF2B5EF4-FFF2-40B4-BE49-F238E27FC236}">
                  <a16:creationId xmlns:a16="http://schemas.microsoft.com/office/drawing/2014/main" id="{67CBFBC8-AEB3-9A7D-81F7-256CE4196E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99695" y="3159290"/>
              <a:ext cx="280811" cy="2808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3" name="Google Shape;1282;p221">
            <a:extLst>
              <a:ext uri="{FF2B5EF4-FFF2-40B4-BE49-F238E27FC236}">
                <a16:creationId xmlns:a16="http://schemas.microsoft.com/office/drawing/2014/main" id="{0D107CE3-E0FA-9C7A-7A1F-4868E3691041}"/>
              </a:ext>
            </a:extLst>
          </p:cNvPr>
          <p:cNvSpPr txBox="1"/>
          <p:nvPr/>
        </p:nvSpPr>
        <p:spPr>
          <a:xfrm>
            <a:off x="7755369" y="2867291"/>
            <a:ext cx="1312959" cy="1116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lnSpc>
                <a:spcPct val="80000"/>
              </a:lnSpc>
              <a:spcBef>
                <a:spcPts val="12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800" b="1">
                <a:solidFill>
                  <a:srgbClr val="00BCFF"/>
                </a:solidFill>
                <a:ea typeface="Uber Move"/>
                <a:cs typeface="Uber Move"/>
                <a:sym typeface="Uber Move"/>
              </a:rPr>
              <a:t>PROGRAMMATIC OLV</a:t>
            </a:r>
            <a:endParaRPr lang="es-GT" sz="500">
              <a:solidFill>
                <a:srgbClr val="00BCFF"/>
              </a:solidFill>
              <a:ea typeface="Uber Move"/>
              <a:cs typeface="Uber Move"/>
              <a:sym typeface="Uber Move"/>
            </a:endParaRPr>
          </a:p>
          <a:p>
            <a:pPr>
              <a:lnSpc>
                <a:spcPct val="80000"/>
              </a:lnSpc>
              <a:spcBef>
                <a:spcPts val="6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Segmentación contextual enfocada en HVA con formato de video en red de Google</a:t>
            </a:r>
          </a:p>
          <a:p>
            <a:pPr>
              <a:lnSpc>
                <a:spcPct val="80000"/>
              </a:lnSpc>
              <a:spcBef>
                <a:spcPts val="6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700" b="1" err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KPIs</a:t>
            </a:r>
            <a:r>
              <a:rPr lang="es-GT" sz="700" b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: </a:t>
            </a: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VTR</a:t>
            </a:r>
          </a:p>
        </p:txBody>
      </p:sp>
      <p:sp>
        <p:nvSpPr>
          <p:cNvPr id="54" name="Google Shape;1856;p241">
            <a:extLst>
              <a:ext uri="{FF2B5EF4-FFF2-40B4-BE49-F238E27FC236}">
                <a16:creationId xmlns:a16="http://schemas.microsoft.com/office/drawing/2014/main" id="{17794FB1-D2D7-9E91-09B9-6C247BDA5EF1}"/>
              </a:ext>
            </a:extLst>
          </p:cNvPr>
          <p:cNvSpPr/>
          <p:nvPr/>
        </p:nvSpPr>
        <p:spPr>
          <a:xfrm>
            <a:off x="2432292" y="1323873"/>
            <a:ext cx="249848" cy="253290"/>
          </a:xfrm>
          <a:custGeom>
            <a:avLst/>
            <a:gdLst/>
            <a:ahLst/>
            <a:cxnLst/>
            <a:rect l="l" t="t" r="r" b="b"/>
            <a:pathLst>
              <a:path w="353" h="353" extrusionOk="0">
                <a:moveTo>
                  <a:pt x="305" y="144"/>
                </a:moveTo>
                <a:cubicBezTo>
                  <a:pt x="296" y="144"/>
                  <a:pt x="289" y="151"/>
                  <a:pt x="289" y="160"/>
                </a:cubicBezTo>
                <a:cubicBezTo>
                  <a:pt x="289" y="169"/>
                  <a:pt x="296" y="176"/>
                  <a:pt x="305" y="176"/>
                </a:cubicBezTo>
                <a:cubicBezTo>
                  <a:pt x="313" y="176"/>
                  <a:pt x="321" y="169"/>
                  <a:pt x="321" y="160"/>
                </a:cubicBezTo>
                <a:cubicBezTo>
                  <a:pt x="321" y="151"/>
                  <a:pt x="313" y="144"/>
                  <a:pt x="305" y="144"/>
                </a:cubicBezTo>
                <a:moveTo>
                  <a:pt x="224" y="144"/>
                </a:moveTo>
                <a:cubicBezTo>
                  <a:pt x="48" y="144"/>
                  <a:pt x="48" y="144"/>
                  <a:pt x="48" y="144"/>
                </a:cubicBezTo>
                <a:cubicBezTo>
                  <a:pt x="48" y="305"/>
                  <a:pt x="48" y="305"/>
                  <a:pt x="48" y="305"/>
                </a:cubicBezTo>
                <a:cubicBezTo>
                  <a:pt x="224" y="305"/>
                  <a:pt x="224" y="305"/>
                  <a:pt x="224" y="305"/>
                </a:cubicBezTo>
                <a:lnTo>
                  <a:pt x="224" y="144"/>
                </a:lnTo>
                <a:close/>
                <a:moveTo>
                  <a:pt x="208" y="289"/>
                </a:moveTo>
                <a:cubicBezTo>
                  <a:pt x="64" y="289"/>
                  <a:pt x="64" y="289"/>
                  <a:pt x="64" y="289"/>
                </a:cubicBezTo>
                <a:cubicBezTo>
                  <a:pt x="64" y="160"/>
                  <a:pt x="64" y="160"/>
                  <a:pt x="64" y="160"/>
                </a:cubicBezTo>
                <a:cubicBezTo>
                  <a:pt x="208" y="160"/>
                  <a:pt x="208" y="160"/>
                  <a:pt x="208" y="160"/>
                </a:cubicBezTo>
                <a:lnTo>
                  <a:pt x="208" y="289"/>
                </a:lnTo>
                <a:close/>
                <a:moveTo>
                  <a:pt x="321" y="96"/>
                </a:moveTo>
                <a:cubicBezTo>
                  <a:pt x="215" y="96"/>
                  <a:pt x="215" y="96"/>
                  <a:pt x="215" y="96"/>
                </a:cubicBezTo>
                <a:cubicBezTo>
                  <a:pt x="213" y="85"/>
                  <a:pt x="207" y="76"/>
                  <a:pt x="197" y="70"/>
                </a:cubicBezTo>
                <a:cubicBezTo>
                  <a:pt x="236" y="31"/>
                  <a:pt x="236" y="31"/>
                  <a:pt x="236" y="31"/>
                </a:cubicBezTo>
                <a:cubicBezTo>
                  <a:pt x="238" y="32"/>
                  <a:pt x="239" y="32"/>
                  <a:pt x="240" y="32"/>
                </a:cubicBezTo>
                <a:cubicBezTo>
                  <a:pt x="249" y="32"/>
                  <a:pt x="256" y="25"/>
                  <a:pt x="256" y="16"/>
                </a:cubicBezTo>
                <a:cubicBezTo>
                  <a:pt x="256" y="7"/>
                  <a:pt x="249" y="0"/>
                  <a:pt x="240" y="0"/>
                </a:cubicBezTo>
                <a:cubicBezTo>
                  <a:pt x="232" y="0"/>
                  <a:pt x="224" y="7"/>
                  <a:pt x="224" y="16"/>
                </a:cubicBezTo>
                <a:cubicBezTo>
                  <a:pt x="224" y="17"/>
                  <a:pt x="225" y="19"/>
                  <a:pt x="225" y="20"/>
                </a:cubicBezTo>
                <a:cubicBezTo>
                  <a:pt x="180" y="64"/>
                  <a:pt x="180" y="64"/>
                  <a:pt x="180" y="64"/>
                </a:cubicBezTo>
                <a:cubicBezTo>
                  <a:pt x="179" y="64"/>
                  <a:pt x="178" y="64"/>
                  <a:pt x="176" y="64"/>
                </a:cubicBezTo>
                <a:cubicBezTo>
                  <a:pt x="175" y="64"/>
                  <a:pt x="173" y="64"/>
                  <a:pt x="172" y="64"/>
                </a:cubicBezTo>
                <a:cubicBezTo>
                  <a:pt x="127" y="20"/>
                  <a:pt x="127" y="20"/>
                  <a:pt x="127" y="20"/>
                </a:cubicBezTo>
                <a:cubicBezTo>
                  <a:pt x="128" y="19"/>
                  <a:pt x="128" y="17"/>
                  <a:pt x="128" y="16"/>
                </a:cubicBezTo>
                <a:cubicBezTo>
                  <a:pt x="128" y="7"/>
                  <a:pt x="121" y="0"/>
                  <a:pt x="112" y="0"/>
                </a:cubicBezTo>
                <a:cubicBezTo>
                  <a:pt x="103" y="0"/>
                  <a:pt x="96" y="7"/>
                  <a:pt x="96" y="16"/>
                </a:cubicBezTo>
                <a:cubicBezTo>
                  <a:pt x="96" y="25"/>
                  <a:pt x="103" y="32"/>
                  <a:pt x="112" y="32"/>
                </a:cubicBezTo>
                <a:cubicBezTo>
                  <a:pt x="113" y="32"/>
                  <a:pt x="115" y="32"/>
                  <a:pt x="116" y="31"/>
                </a:cubicBezTo>
                <a:cubicBezTo>
                  <a:pt x="155" y="70"/>
                  <a:pt x="155" y="70"/>
                  <a:pt x="155" y="70"/>
                </a:cubicBezTo>
                <a:cubicBezTo>
                  <a:pt x="146" y="76"/>
                  <a:pt x="139" y="85"/>
                  <a:pt x="137" y="96"/>
                </a:cubicBezTo>
                <a:cubicBezTo>
                  <a:pt x="32" y="96"/>
                  <a:pt x="32" y="96"/>
                  <a:pt x="32" y="96"/>
                </a:cubicBezTo>
                <a:cubicBezTo>
                  <a:pt x="14" y="96"/>
                  <a:pt x="0" y="110"/>
                  <a:pt x="0" y="128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4" y="353"/>
                  <a:pt x="32" y="353"/>
                </a:cubicBezTo>
                <a:cubicBezTo>
                  <a:pt x="321" y="353"/>
                  <a:pt x="321" y="353"/>
                  <a:pt x="321" y="353"/>
                </a:cubicBezTo>
                <a:cubicBezTo>
                  <a:pt x="338" y="353"/>
                  <a:pt x="353" y="339"/>
                  <a:pt x="353" y="321"/>
                </a:cubicBezTo>
                <a:cubicBezTo>
                  <a:pt x="353" y="128"/>
                  <a:pt x="353" y="128"/>
                  <a:pt x="353" y="128"/>
                </a:cubicBezTo>
                <a:cubicBezTo>
                  <a:pt x="353" y="110"/>
                  <a:pt x="338" y="96"/>
                  <a:pt x="321" y="96"/>
                </a:cubicBezTo>
                <a:moveTo>
                  <a:pt x="256" y="337"/>
                </a:moveTo>
                <a:cubicBezTo>
                  <a:pt x="32" y="337"/>
                  <a:pt x="32" y="337"/>
                  <a:pt x="32" y="337"/>
                </a:cubicBezTo>
                <a:cubicBezTo>
                  <a:pt x="23" y="337"/>
                  <a:pt x="16" y="330"/>
                  <a:pt x="16" y="321"/>
                </a:cubicBezTo>
                <a:cubicBezTo>
                  <a:pt x="16" y="128"/>
                  <a:pt x="16" y="128"/>
                  <a:pt x="16" y="128"/>
                </a:cubicBezTo>
                <a:cubicBezTo>
                  <a:pt x="16" y="119"/>
                  <a:pt x="23" y="112"/>
                  <a:pt x="32" y="112"/>
                </a:cubicBezTo>
                <a:cubicBezTo>
                  <a:pt x="256" y="112"/>
                  <a:pt x="256" y="112"/>
                  <a:pt x="256" y="112"/>
                </a:cubicBezTo>
                <a:lnTo>
                  <a:pt x="256" y="337"/>
                </a:lnTo>
                <a:close/>
                <a:moveTo>
                  <a:pt x="337" y="321"/>
                </a:moveTo>
                <a:cubicBezTo>
                  <a:pt x="337" y="330"/>
                  <a:pt x="330" y="337"/>
                  <a:pt x="321" y="337"/>
                </a:cubicBezTo>
                <a:cubicBezTo>
                  <a:pt x="273" y="337"/>
                  <a:pt x="273" y="337"/>
                  <a:pt x="273" y="337"/>
                </a:cubicBezTo>
                <a:cubicBezTo>
                  <a:pt x="273" y="112"/>
                  <a:pt x="273" y="112"/>
                  <a:pt x="273" y="112"/>
                </a:cubicBezTo>
                <a:cubicBezTo>
                  <a:pt x="321" y="112"/>
                  <a:pt x="321" y="112"/>
                  <a:pt x="321" y="112"/>
                </a:cubicBezTo>
                <a:cubicBezTo>
                  <a:pt x="330" y="112"/>
                  <a:pt x="337" y="119"/>
                  <a:pt x="337" y="128"/>
                </a:cubicBezTo>
                <a:lnTo>
                  <a:pt x="337" y="321"/>
                </a:lnTo>
                <a:close/>
                <a:moveTo>
                  <a:pt x="305" y="225"/>
                </a:moveTo>
                <a:cubicBezTo>
                  <a:pt x="300" y="225"/>
                  <a:pt x="297" y="228"/>
                  <a:pt x="297" y="233"/>
                </a:cubicBezTo>
                <a:cubicBezTo>
                  <a:pt x="297" y="237"/>
                  <a:pt x="300" y="241"/>
                  <a:pt x="305" y="241"/>
                </a:cubicBezTo>
                <a:cubicBezTo>
                  <a:pt x="309" y="241"/>
                  <a:pt x="313" y="237"/>
                  <a:pt x="313" y="233"/>
                </a:cubicBezTo>
                <a:cubicBezTo>
                  <a:pt x="313" y="228"/>
                  <a:pt x="309" y="225"/>
                  <a:pt x="305" y="225"/>
                </a:cubicBezTo>
                <a:moveTo>
                  <a:pt x="305" y="192"/>
                </a:moveTo>
                <a:cubicBezTo>
                  <a:pt x="300" y="192"/>
                  <a:pt x="297" y="196"/>
                  <a:pt x="297" y="200"/>
                </a:cubicBezTo>
                <a:cubicBezTo>
                  <a:pt x="297" y="205"/>
                  <a:pt x="300" y="208"/>
                  <a:pt x="305" y="208"/>
                </a:cubicBezTo>
                <a:cubicBezTo>
                  <a:pt x="309" y="208"/>
                  <a:pt x="313" y="205"/>
                  <a:pt x="313" y="200"/>
                </a:cubicBezTo>
                <a:cubicBezTo>
                  <a:pt x="313" y="196"/>
                  <a:pt x="309" y="192"/>
                  <a:pt x="305" y="192"/>
                </a:cubicBezTo>
              </a:path>
            </a:pathLst>
          </a:custGeom>
          <a:solidFill>
            <a:sysClr val="windowText" lastClr="00000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  <a:tabLst/>
              <a:defRPr/>
            </a:pPr>
            <a:endParaRPr kumimoji="0" lang="es-GT" sz="13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" name="Google Shape;1282;p221">
            <a:extLst>
              <a:ext uri="{FF2B5EF4-FFF2-40B4-BE49-F238E27FC236}">
                <a16:creationId xmlns:a16="http://schemas.microsoft.com/office/drawing/2014/main" id="{FAF3ED69-E2AB-B47E-9456-4E44D92A9DF9}"/>
              </a:ext>
            </a:extLst>
          </p:cNvPr>
          <p:cNvSpPr txBox="1"/>
          <p:nvPr/>
        </p:nvSpPr>
        <p:spPr>
          <a:xfrm>
            <a:off x="2865531" y="1040236"/>
            <a:ext cx="1151530" cy="58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lnSpc>
                <a:spcPct val="80000"/>
              </a:lnSpc>
              <a:spcBef>
                <a:spcPts val="12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800" b="1" dirty="0">
                <a:solidFill>
                  <a:srgbClr val="00BCFF"/>
                </a:solidFill>
                <a:ea typeface="Uber Move"/>
                <a:cs typeface="Uber Move"/>
                <a:sym typeface="Uber Move"/>
              </a:rPr>
              <a:t>TV PATROCINIOS ESPECIALES</a:t>
            </a:r>
            <a:endParaRPr lang="es-GT" sz="500" dirty="0">
              <a:solidFill>
                <a:srgbClr val="00BCFF"/>
              </a:solidFill>
              <a:ea typeface="Uber Move"/>
              <a:cs typeface="Uber Move"/>
              <a:sym typeface="Uber Move"/>
            </a:endParaRPr>
          </a:p>
          <a:p>
            <a:pPr>
              <a:lnSpc>
                <a:spcPct val="80000"/>
              </a:lnSpc>
              <a:spcBef>
                <a:spcPts val="6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700" dirty="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Soberanos, Películas Juveniles, Alfombras Rojas, Olimpiadas, Ojos de Mujer</a:t>
            </a:r>
          </a:p>
        </p:txBody>
      </p:sp>
      <p:sp>
        <p:nvSpPr>
          <p:cNvPr id="56" name="Google Shape;1282;p221">
            <a:extLst>
              <a:ext uri="{FF2B5EF4-FFF2-40B4-BE49-F238E27FC236}">
                <a16:creationId xmlns:a16="http://schemas.microsoft.com/office/drawing/2014/main" id="{B5D4117F-5840-AB89-AB34-A5C224FC1C2A}"/>
              </a:ext>
            </a:extLst>
          </p:cNvPr>
          <p:cNvSpPr txBox="1"/>
          <p:nvPr/>
        </p:nvSpPr>
        <p:spPr>
          <a:xfrm>
            <a:off x="8395450" y="1069370"/>
            <a:ext cx="840066" cy="1130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lnSpc>
                <a:spcPct val="80000"/>
              </a:lnSpc>
              <a:spcBef>
                <a:spcPts val="12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800" b="1">
                <a:solidFill>
                  <a:srgbClr val="00BCFF"/>
                </a:solidFill>
                <a:ea typeface="Uber Move"/>
                <a:cs typeface="Uber Move"/>
                <a:sym typeface="Uber Move"/>
              </a:rPr>
              <a:t> RADIO</a:t>
            </a:r>
            <a:endParaRPr lang="es-GT" sz="500">
              <a:solidFill>
                <a:srgbClr val="00BCFF"/>
              </a:solidFill>
              <a:ea typeface="Uber Move"/>
              <a:cs typeface="Uber Move"/>
              <a:sym typeface="Uber Move"/>
            </a:endParaRPr>
          </a:p>
          <a:p>
            <a:pPr>
              <a:lnSpc>
                <a:spcPct val="80000"/>
              </a:lnSpc>
              <a:spcBef>
                <a:spcPts val="600"/>
              </a:spcBef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Radio-Podcast Para ser  honestas</a:t>
            </a:r>
          </a:p>
        </p:txBody>
      </p:sp>
      <p:grpSp>
        <p:nvGrpSpPr>
          <p:cNvPr id="58" name="Grupo 57">
            <a:extLst>
              <a:ext uri="{FF2B5EF4-FFF2-40B4-BE49-F238E27FC236}">
                <a16:creationId xmlns:a16="http://schemas.microsoft.com/office/drawing/2014/main" id="{6FFCA445-BD87-CB6D-F16E-A07B09B308BB}"/>
              </a:ext>
            </a:extLst>
          </p:cNvPr>
          <p:cNvGrpSpPr/>
          <p:nvPr/>
        </p:nvGrpSpPr>
        <p:grpSpPr>
          <a:xfrm>
            <a:off x="1913456" y="2870794"/>
            <a:ext cx="1477395" cy="1116412"/>
            <a:chOff x="1192542" y="2965186"/>
            <a:chExt cx="1477395" cy="1116412"/>
          </a:xfrm>
        </p:grpSpPr>
        <p:pic>
          <p:nvPicPr>
            <p:cNvPr id="59" name="Picture 2" descr="Youtube Logo - PNG y Vector">
              <a:extLst>
                <a:ext uri="{FF2B5EF4-FFF2-40B4-BE49-F238E27FC236}">
                  <a16:creationId xmlns:a16="http://schemas.microsoft.com/office/drawing/2014/main" id="{08FF2D9D-79A5-3A69-FC4C-D7F081E37DF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2738" y="3073322"/>
              <a:ext cx="237183" cy="1656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" name="Google Shape;1282;p221">
              <a:extLst>
                <a:ext uri="{FF2B5EF4-FFF2-40B4-BE49-F238E27FC236}">
                  <a16:creationId xmlns:a16="http://schemas.microsoft.com/office/drawing/2014/main" id="{9F2C828F-CA5C-0B6F-619F-D822484D5451}"/>
                </a:ext>
              </a:extLst>
            </p:cNvPr>
            <p:cNvSpPr txBox="1"/>
            <p:nvPr/>
          </p:nvSpPr>
          <p:spPr>
            <a:xfrm>
              <a:off x="1192542" y="2965186"/>
              <a:ext cx="1477395" cy="111641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9050" tIns="19050" rIns="19050" bIns="19050" anchor="t" anchorCtr="0">
              <a:noAutofit/>
            </a:bodyPr>
            <a:lstStyle/>
            <a:p>
              <a:pPr>
                <a:lnSpc>
                  <a:spcPct val="80000"/>
                </a:lnSpc>
                <a:spcBef>
                  <a:spcPts val="12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800" b="1">
                  <a:solidFill>
                    <a:srgbClr val="00BCFF"/>
                  </a:solidFill>
                  <a:ea typeface="Uber Move"/>
                  <a:cs typeface="Uber Move"/>
                  <a:sym typeface="Uber Move"/>
                </a:rPr>
                <a:t>             YOUTUBE (DV360)</a:t>
              </a:r>
              <a:r>
                <a:rPr lang="es-GT" sz="500">
                  <a:solidFill>
                    <a:srgbClr val="00BCFF"/>
                  </a:solidFill>
                  <a:ea typeface="Uber Move"/>
                  <a:cs typeface="Uber Move"/>
                  <a:sym typeface="Uber Move"/>
                </a:rPr>
                <a:t> </a:t>
              </a:r>
              <a:endPara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endParaRPr>
            </a:p>
            <a:p>
              <a:pPr>
                <a:lnSpc>
                  <a:spcPct val="80000"/>
                </a:lnSpc>
                <a:spcBef>
                  <a:spcPts val="6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700" err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Bumper</a:t>
              </a:r>
              <a:r>
                <a:rPr lang="es-GT" sz="700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 </a:t>
              </a:r>
              <a:r>
                <a:rPr lang="es-GT" sz="700" err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Ads+Trueview</a:t>
              </a:r>
              <a:r>
                <a:rPr lang="es-GT" sz="700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, segmentado por HVA Optimizado por ICPM</a:t>
              </a:r>
            </a:p>
            <a:p>
              <a:pPr>
                <a:lnSpc>
                  <a:spcPct val="80000"/>
                </a:lnSpc>
                <a:spcBef>
                  <a:spcPts val="600"/>
                </a:spcBef>
                <a:buClr>
                  <a:srgbClr val="929292"/>
                </a:buClr>
                <a:buSzPts val="800"/>
                <a:buFont typeface="Arial"/>
                <a:buNone/>
                <a:defRPr/>
              </a:pPr>
              <a:r>
                <a:rPr lang="es-GT" sz="700" b="1" err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Format</a:t>
              </a:r>
              <a:r>
                <a:rPr lang="es-GT" sz="700" b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: </a:t>
              </a:r>
              <a:r>
                <a:rPr lang="es-GT" sz="700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30s, 15s, 6s </a:t>
              </a:r>
              <a:r>
                <a:rPr lang="es-GT" sz="700" b="1" err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KPIs</a:t>
              </a:r>
              <a:r>
                <a:rPr lang="es-GT" sz="700" b="1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: </a:t>
              </a:r>
              <a:r>
                <a:rPr lang="es-GT" sz="700">
                  <a:solidFill>
                    <a:srgbClr val="0A0F0D"/>
                  </a:solidFill>
                  <a:ea typeface="Uber Move"/>
                  <a:cs typeface="Uber Move"/>
                  <a:sym typeface="Uber Move"/>
                </a:rPr>
                <a:t>VTR </a:t>
              </a:r>
            </a:p>
          </p:txBody>
        </p:sp>
      </p:grpSp>
      <p:pic>
        <p:nvPicPr>
          <p:cNvPr id="64" name="Picture 2" descr="Telecorporación Salvadoreña - Wikipedia, la enciclopedia libre">
            <a:extLst>
              <a:ext uri="{FF2B5EF4-FFF2-40B4-BE49-F238E27FC236}">
                <a16:creationId xmlns:a16="http://schemas.microsoft.com/office/drawing/2014/main" id="{C4CA6FA3-BE4B-EB2F-4860-834E525EB2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668" y="1622880"/>
            <a:ext cx="370975" cy="208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Imagen 65" descr="Logotipo&#10;&#10;Descripción generada automáticamente">
            <a:extLst>
              <a:ext uri="{FF2B5EF4-FFF2-40B4-BE49-F238E27FC236}">
                <a16:creationId xmlns:a16="http://schemas.microsoft.com/office/drawing/2014/main" id="{A0E09644-4134-CCE4-A50A-EFB07A75579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4975" y="1871102"/>
            <a:ext cx="294386" cy="253173"/>
          </a:xfrm>
          <a:prstGeom prst="rect">
            <a:avLst/>
          </a:prstGeom>
        </p:spPr>
      </p:pic>
      <p:pic>
        <p:nvPicPr>
          <p:cNvPr id="67" name="Imagen 66" descr="Logotipo&#10;&#10;Descripción generada automáticamente">
            <a:extLst>
              <a:ext uri="{FF2B5EF4-FFF2-40B4-BE49-F238E27FC236}">
                <a16:creationId xmlns:a16="http://schemas.microsoft.com/office/drawing/2014/main" id="{69631B60-CECC-6152-5B97-2B34F4D7F8F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8508" y="1869766"/>
            <a:ext cx="287897" cy="257429"/>
          </a:xfrm>
          <a:prstGeom prst="rect">
            <a:avLst/>
          </a:prstGeom>
        </p:spPr>
      </p:pic>
      <p:pic>
        <p:nvPicPr>
          <p:cNvPr id="68" name="Imagen 67">
            <a:extLst>
              <a:ext uri="{FF2B5EF4-FFF2-40B4-BE49-F238E27FC236}">
                <a16:creationId xmlns:a16="http://schemas.microsoft.com/office/drawing/2014/main" id="{5EA90126-F906-C3C2-A3D9-3FDCAB1736D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869003" y="1599201"/>
            <a:ext cx="247832" cy="247832"/>
          </a:xfrm>
          <a:prstGeom prst="rect">
            <a:avLst/>
          </a:prstGeom>
        </p:spPr>
      </p:pic>
      <p:pic>
        <p:nvPicPr>
          <p:cNvPr id="69" name="Imagen 68" descr="Un dibujo de una cara feliz&#10;&#10;Descripción generada automáticamente con confianza media">
            <a:extLst>
              <a:ext uri="{FF2B5EF4-FFF2-40B4-BE49-F238E27FC236}">
                <a16:creationId xmlns:a16="http://schemas.microsoft.com/office/drawing/2014/main" id="{6E1B841F-CC7E-CDCE-1B1C-2C42CE6D3F2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2550" y="1613964"/>
            <a:ext cx="229414" cy="229414"/>
          </a:xfrm>
          <a:prstGeom prst="rect">
            <a:avLst/>
          </a:prstGeom>
        </p:spPr>
      </p:pic>
      <p:sp>
        <p:nvSpPr>
          <p:cNvPr id="71" name="Google Shape;1282;p221">
            <a:extLst>
              <a:ext uri="{FF2B5EF4-FFF2-40B4-BE49-F238E27FC236}">
                <a16:creationId xmlns:a16="http://schemas.microsoft.com/office/drawing/2014/main" id="{BDC12F2C-C807-4F5E-2DCE-E5869096A326}"/>
              </a:ext>
            </a:extLst>
          </p:cNvPr>
          <p:cNvSpPr txBox="1"/>
          <p:nvPr/>
        </p:nvSpPr>
        <p:spPr>
          <a:xfrm>
            <a:off x="3027976" y="3950238"/>
            <a:ext cx="1898936" cy="58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>
              <a:lnSpc>
                <a:spcPct val="80000"/>
              </a:lnSpc>
              <a:buClr>
                <a:srgbClr val="929292"/>
              </a:buClr>
              <a:buSzPts val="800"/>
              <a:buFont typeface="Arial"/>
              <a:buNone/>
              <a:defRPr/>
            </a:pPr>
            <a:r>
              <a:rPr lang="es-GT" sz="800" b="1">
                <a:solidFill>
                  <a:srgbClr val="00BCFF"/>
                </a:solidFill>
                <a:ea typeface="Uber Move"/>
                <a:cs typeface="Uber Move"/>
                <a:sym typeface="Uber Move"/>
              </a:rPr>
              <a:t>HVA:</a:t>
            </a:r>
            <a:endParaRPr lang="es-GT" sz="500" b="1">
              <a:solidFill>
                <a:srgbClr val="00BCFF"/>
              </a:solidFill>
              <a:ea typeface="Uber Move"/>
              <a:cs typeface="Uber Move"/>
              <a:sym typeface="Uber Move"/>
            </a:endParaRPr>
          </a:p>
          <a:p>
            <a:pPr>
              <a:lnSpc>
                <a:spcPct val="80000"/>
              </a:lnSpc>
              <a:buClr>
                <a:srgbClr val="929292"/>
              </a:buClr>
              <a:buSzPts val="800"/>
              <a:defRPr/>
            </a:pP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Segmentación en                                            </a:t>
            </a:r>
            <a:r>
              <a:rPr lang="es-GT" sz="700" err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Bidding</a:t>
            </a: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 </a:t>
            </a:r>
            <a:r>
              <a:rPr lang="es-GT" sz="700" err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Platforms</a:t>
            </a: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:</a:t>
            </a:r>
          </a:p>
          <a:p>
            <a:pPr>
              <a:lnSpc>
                <a:spcPct val="80000"/>
              </a:lnSpc>
              <a:buClr>
                <a:srgbClr val="929292"/>
              </a:buClr>
              <a:buSzPts val="800"/>
              <a:defRPr/>
            </a:pPr>
            <a:endParaRPr lang="es-GT" sz="700">
              <a:solidFill>
                <a:srgbClr val="0A0F0D"/>
              </a:solidFill>
              <a:ea typeface="Uber Move"/>
              <a:cs typeface="Uber Move"/>
            </a:endParaRPr>
          </a:p>
          <a:p>
            <a:pPr marL="171450" indent="-171450">
              <a:lnSpc>
                <a:spcPct val="80000"/>
              </a:lnSpc>
              <a:buClr>
                <a:srgbClr val="929292"/>
              </a:buClr>
              <a:buSzPts val="800"/>
              <a:buFont typeface="Arial" panose="020B0604020202020204" pitchFamily="34" charset="0"/>
              <a:buChar char="•"/>
              <a:defRPr/>
            </a:pPr>
            <a:r>
              <a:rPr lang="es-GT" sz="700" err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Tech</a:t>
            </a: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 </a:t>
            </a:r>
            <a:r>
              <a:rPr lang="es-GT" sz="700" err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Girls</a:t>
            </a: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 </a:t>
            </a:r>
            <a:endParaRPr lang="es-GT" sz="700">
              <a:solidFill>
                <a:srgbClr val="0A0F0D"/>
              </a:solidFill>
              <a:ea typeface="Uber Move"/>
              <a:cs typeface="Uber Move"/>
            </a:endParaRPr>
          </a:p>
          <a:p>
            <a:pPr marL="171450" indent="-171450">
              <a:lnSpc>
                <a:spcPct val="80000"/>
              </a:lnSpc>
              <a:buClr>
                <a:srgbClr val="929292"/>
              </a:buClr>
              <a:buSzPts val="800"/>
              <a:buFont typeface="Arial" panose="020B0604020202020204" pitchFamily="34" charset="0"/>
              <a:buChar char="•"/>
              <a:defRPr/>
            </a:pPr>
            <a:r>
              <a:rPr lang="es-GT" sz="700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Pop Culture </a:t>
            </a:r>
            <a:r>
              <a:rPr lang="es-GT" sz="700" err="1">
                <a:solidFill>
                  <a:srgbClr val="0A0F0D"/>
                </a:solidFill>
                <a:ea typeface="Uber Move"/>
                <a:cs typeface="Uber Move"/>
                <a:sym typeface="Uber Move"/>
              </a:rPr>
              <a:t>Enthusiasts</a:t>
            </a:r>
            <a:endParaRPr lang="es-GT" sz="700">
              <a:solidFill>
                <a:srgbClr val="0A0F0D"/>
              </a:solidFill>
              <a:ea typeface="Uber Move"/>
              <a:cs typeface="Uber Move"/>
              <a:sym typeface="Uber Move"/>
            </a:endParaRPr>
          </a:p>
          <a:p>
            <a:pPr>
              <a:lnSpc>
                <a:spcPct val="80000"/>
              </a:lnSpc>
              <a:buClr>
                <a:srgbClr val="929292"/>
              </a:buClr>
              <a:buSzPts val="800"/>
              <a:buFont typeface="Arial"/>
              <a:buNone/>
              <a:defRPr/>
            </a:pPr>
            <a:endParaRPr lang="es-GT" sz="700">
              <a:solidFill>
                <a:srgbClr val="0A0F0D"/>
              </a:solidFill>
              <a:ea typeface="Uber Move"/>
              <a:cs typeface="Uber Move"/>
              <a:sym typeface="Uber Move"/>
            </a:endParaRPr>
          </a:p>
        </p:txBody>
      </p:sp>
      <p:grpSp>
        <p:nvGrpSpPr>
          <p:cNvPr id="72" name="Group 79">
            <a:extLst>
              <a:ext uri="{FF2B5EF4-FFF2-40B4-BE49-F238E27FC236}">
                <a16:creationId xmlns:a16="http://schemas.microsoft.com/office/drawing/2014/main" id="{921A2C25-3C1B-DFB7-3CF8-DDBB9A5C474B}"/>
              </a:ext>
            </a:extLst>
          </p:cNvPr>
          <p:cNvGrpSpPr/>
          <p:nvPr/>
        </p:nvGrpSpPr>
        <p:grpSpPr>
          <a:xfrm>
            <a:off x="204246" y="1231033"/>
            <a:ext cx="360295" cy="5353531"/>
            <a:chOff x="257122" y="1158249"/>
            <a:chExt cx="384233" cy="5160552"/>
          </a:xfrm>
        </p:grpSpPr>
        <p:sp>
          <p:nvSpPr>
            <p:cNvPr id="73" name="Rectangle: Rounded Corners 100">
              <a:extLst>
                <a:ext uri="{FF2B5EF4-FFF2-40B4-BE49-F238E27FC236}">
                  <a16:creationId xmlns:a16="http://schemas.microsoft.com/office/drawing/2014/main" id="{6AA33F7F-AB08-CFF9-21C2-2BC6EE2344FA}"/>
                </a:ext>
              </a:extLst>
            </p:cNvPr>
            <p:cNvSpPr/>
            <p:nvPr/>
          </p:nvSpPr>
          <p:spPr>
            <a:xfrm>
              <a:off x="260778" y="1158249"/>
              <a:ext cx="380577" cy="3037571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50000"/>
              </a:schemeClr>
            </a:solidFill>
            <a:ln w="12700" cap="flat" cmpd="sng" algn="ctr">
              <a:solidFill>
                <a:srgbClr val="A5A5A5"/>
              </a:solidFill>
              <a:prstDash val="solid"/>
              <a:miter lim="800000"/>
            </a:ln>
            <a:effectLst/>
          </p:spPr>
          <p:txBody>
            <a:bodyPr vert="vert27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12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rPr>
                <a:t>Brand Building</a:t>
              </a:r>
            </a:p>
          </p:txBody>
        </p:sp>
        <p:sp>
          <p:nvSpPr>
            <p:cNvPr id="74" name="Rectangle: Rounded Corners 100">
              <a:extLst>
                <a:ext uri="{FF2B5EF4-FFF2-40B4-BE49-F238E27FC236}">
                  <a16:creationId xmlns:a16="http://schemas.microsoft.com/office/drawing/2014/main" id="{720B4DB8-72BE-98CB-0F09-7F17DA2B91C6}"/>
                </a:ext>
              </a:extLst>
            </p:cNvPr>
            <p:cNvSpPr/>
            <p:nvPr/>
          </p:nvSpPr>
          <p:spPr>
            <a:xfrm>
              <a:off x="257122" y="4218253"/>
              <a:ext cx="375039" cy="2100548"/>
            </a:xfrm>
            <a:prstGeom prst="roundRect">
              <a:avLst>
                <a:gd name="adj" fmla="val 44884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12700" cap="flat" cmpd="sng" algn="ctr">
              <a:solidFill>
                <a:srgbClr val="A5A5A5"/>
              </a:solidFill>
              <a:prstDash val="solid"/>
              <a:miter lim="800000"/>
            </a:ln>
            <a:effectLst/>
          </p:spPr>
          <p:txBody>
            <a:bodyPr vert="vert27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rPr>
                <a:t>      </a:t>
              </a:r>
              <a:r>
                <a:rPr kumimoji="0" lang="pt-PT" sz="11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rPr>
                <a:t>Performance Marketing</a:t>
              </a:r>
            </a:p>
          </p:txBody>
        </p:sp>
        <p:pic>
          <p:nvPicPr>
            <p:cNvPr id="75" name="Graphic 55" descr="Brainstorm outline">
              <a:extLst>
                <a:ext uri="{FF2B5EF4-FFF2-40B4-BE49-F238E27FC236}">
                  <a16:creationId xmlns:a16="http://schemas.microsoft.com/office/drawing/2014/main" id="{AE2770B6-59C9-1E5B-6494-3E3002D2EE6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 rot="16200000">
              <a:off x="311732" y="3529151"/>
              <a:ext cx="312775" cy="288000"/>
            </a:xfrm>
            <a:prstGeom prst="rect">
              <a:avLst/>
            </a:prstGeom>
          </p:spPr>
        </p:pic>
        <p:pic>
          <p:nvPicPr>
            <p:cNvPr id="76" name="Graphic 56" descr="Philanthropy outline">
              <a:extLst>
                <a:ext uri="{FF2B5EF4-FFF2-40B4-BE49-F238E27FC236}">
                  <a16:creationId xmlns:a16="http://schemas.microsoft.com/office/drawing/2014/main" id="{A18E4685-5157-283B-AA01-A0D85DE019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 rot="16200000">
              <a:off x="288482" y="5984156"/>
              <a:ext cx="312775" cy="288000"/>
            </a:xfrm>
            <a:prstGeom prst="rect">
              <a:avLst/>
            </a:prstGeom>
          </p:spPr>
        </p:pic>
      </p:grpSp>
      <p:pic>
        <p:nvPicPr>
          <p:cNvPr id="85" name="Picture 2" descr="Meta logo transparent PNG - StickPNG">
            <a:extLst>
              <a:ext uri="{FF2B5EF4-FFF2-40B4-BE49-F238E27FC236}">
                <a16:creationId xmlns:a16="http://schemas.microsoft.com/office/drawing/2014/main" id="{31E1879D-7E07-A0BF-083C-EDB071DDF3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5230" y="2996241"/>
            <a:ext cx="325049" cy="182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2" descr="Spotify Logo Png - Free Transparent PNG Logos">
            <a:extLst>
              <a:ext uri="{FF2B5EF4-FFF2-40B4-BE49-F238E27FC236}">
                <a16:creationId xmlns:a16="http://schemas.microsoft.com/office/drawing/2014/main" id="{F9DD7409-D2B7-52E1-3A6B-BCDB18C150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368" y="3256994"/>
            <a:ext cx="238183" cy="238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" name="TextBox 61">
            <a:extLst>
              <a:ext uri="{FF2B5EF4-FFF2-40B4-BE49-F238E27FC236}">
                <a16:creationId xmlns:a16="http://schemas.microsoft.com/office/drawing/2014/main" id="{BC6CF050-8443-78B1-D868-5C3FA4420BDB}"/>
              </a:ext>
            </a:extLst>
          </p:cNvPr>
          <p:cNvSpPr txBox="1"/>
          <p:nvPr/>
        </p:nvSpPr>
        <p:spPr>
          <a:xfrm>
            <a:off x="11018137" y="4262010"/>
            <a:ext cx="10682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sz="700" b="1" i="1" u="none" strike="noStrike" kern="0" cap="none" spc="0" normalizeH="0" baseline="0" noProof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</a:rPr>
              <a:t>Página del Producto del Sitio</a:t>
            </a:r>
          </a:p>
        </p:txBody>
      </p:sp>
      <p:pic>
        <p:nvPicPr>
          <p:cNvPr id="109" name="Picture 2" descr="Additional DV360 Training Workshops - E-CENS">
            <a:extLst>
              <a:ext uri="{FF2B5EF4-FFF2-40B4-BE49-F238E27FC236}">
                <a16:creationId xmlns:a16="http://schemas.microsoft.com/office/drawing/2014/main" id="{59522D85-537D-E651-6726-D9894C31A9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625" y="3004461"/>
            <a:ext cx="219780" cy="219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" name="Picture 2" descr="Ver las imágenes de origen">
            <a:extLst>
              <a:ext uri="{FF2B5EF4-FFF2-40B4-BE49-F238E27FC236}">
                <a16:creationId xmlns:a16="http://schemas.microsoft.com/office/drawing/2014/main" id="{093370CC-541A-86BC-3A72-EB4751D96E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clrChange>
              <a:clrFrom>
                <a:srgbClr val="EEEEEE"/>
              </a:clrFrom>
              <a:clrTo>
                <a:srgbClr val="EEEEE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6773" y="3003902"/>
            <a:ext cx="207143" cy="173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5" name="Picture 39">
            <a:extLst>
              <a:ext uri="{FF2B5EF4-FFF2-40B4-BE49-F238E27FC236}">
                <a16:creationId xmlns:a16="http://schemas.microsoft.com/office/drawing/2014/main" id="{5F5247BA-4B3F-85E2-CEA0-42B6340F946E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1010883" y="284267"/>
            <a:ext cx="256478" cy="256478"/>
          </a:xfrm>
          <a:prstGeom prst="rect">
            <a:avLst/>
          </a:prstGeom>
        </p:spPr>
      </p:pic>
      <p:pic>
        <p:nvPicPr>
          <p:cNvPr id="126" name="Picture 44">
            <a:extLst>
              <a:ext uri="{FF2B5EF4-FFF2-40B4-BE49-F238E27FC236}">
                <a16:creationId xmlns:a16="http://schemas.microsoft.com/office/drawing/2014/main" id="{541B89BA-FF8D-C1A9-FC3E-54C2B40B4B11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11601557" y="278600"/>
            <a:ext cx="256478" cy="256478"/>
          </a:xfrm>
          <a:prstGeom prst="rect">
            <a:avLst/>
          </a:prstGeom>
        </p:spPr>
      </p:pic>
      <p:pic>
        <p:nvPicPr>
          <p:cNvPr id="127" name="Picture 63">
            <a:extLst>
              <a:ext uri="{FF2B5EF4-FFF2-40B4-BE49-F238E27FC236}">
                <a16:creationId xmlns:a16="http://schemas.microsoft.com/office/drawing/2014/main" id="{673564D7-C45D-224E-A7F2-A6EC80A87E78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0727182" y="281183"/>
            <a:ext cx="256478" cy="256478"/>
          </a:xfrm>
          <a:prstGeom prst="rect">
            <a:avLst/>
          </a:prstGeom>
        </p:spPr>
      </p:pic>
      <p:pic>
        <p:nvPicPr>
          <p:cNvPr id="128" name="Picture 129">
            <a:extLst>
              <a:ext uri="{FF2B5EF4-FFF2-40B4-BE49-F238E27FC236}">
                <a16:creationId xmlns:a16="http://schemas.microsoft.com/office/drawing/2014/main" id="{8082A27F-5EDB-22AD-09EF-B85A2F20893F}"/>
              </a:ext>
            </a:extLst>
          </p:cNvPr>
          <p:cNvPicPr>
            <a:picLocks noChangeAspect="1"/>
          </p:cNvPicPr>
          <p:nvPr/>
        </p:nvPicPr>
        <p:blipFill>
          <a:blip r:embed="rId26"/>
          <a:srcRect/>
          <a:stretch/>
        </p:blipFill>
        <p:spPr>
          <a:xfrm>
            <a:off x="11317856" y="290044"/>
            <a:ext cx="256478" cy="256478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73D59577-0FAC-8E93-28DD-96571FB4371F}"/>
              </a:ext>
            </a:extLst>
          </p:cNvPr>
          <p:cNvGrpSpPr/>
          <p:nvPr/>
        </p:nvGrpSpPr>
        <p:grpSpPr>
          <a:xfrm>
            <a:off x="771750" y="2433818"/>
            <a:ext cx="3044518" cy="302196"/>
            <a:chOff x="6307033" y="5438685"/>
            <a:chExt cx="5804971" cy="546611"/>
          </a:xfrm>
        </p:grpSpPr>
        <p:pic>
          <p:nvPicPr>
            <p:cNvPr id="17" name="Picture 16" descr="Telemundo Logo / Television / Logonoid.com">
              <a:extLst>
                <a:ext uri="{FF2B5EF4-FFF2-40B4-BE49-F238E27FC236}">
                  <a16:creationId xmlns:a16="http://schemas.microsoft.com/office/drawing/2014/main" id="{B9CB6806-D237-3529-456A-7CCA0508A4A3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7839242" y="5528862"/>
              <a:ext cx="501020" cy="385630"/>
            </a:xfrm>
            <a:prstGeom prst="rect">
              <a:avLst/>
            </a:prstGeom>
          </p:spPr>
        </p:pic>
        <p:pic>
          <p:nvPicPr>
            <p:cNvPr id="18" name="Picture 17" descr="Las Estrellas – Logos Download">
              <a:extLst>
                <a:ext uri="{FF2B5EF4-FFF2-40B4-BE49-F238E27FC236}">
                  <a16:creationId xmlns:a16="http://schemas.microsoft.com/office/drawing/2014/main" id="{3E743EDA-7365-D8A7-2C88-C286386A60FE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7164511" y="5445354"/>
              <a:ext cx="537384" cy="492557"/>
            </a:xfrm>
            <a:prstGeom prst="rect">
              <a:avLst/>
            </a:prstGeom>
          </p:spPr>
        </p:pic>
        <p:pic>
          <p:nvPicPr>
            <p:cNvPr id="19" name="Picture 18" descr="TLnovelas | Logopedia | FANDOM powered by Wikia">
              <a:extLst>
                <a:ext uri="{FF2B5EF4-FFF2-40B4-BE49-F238E27FC236}">
                  <a16:creationId xmlns:a16="http://schemas.microsoft.com/office/drawing/2014/main" id="{85E4F334-AA33-4346-8684-0345BFA1C3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9"/>
            <a:srcRect l="8420" t="7018" r="12308" b="14551"/>
            <a:stretch/>
          </p:blipFill>
          <p:spPr>
            <a:xfrm>
              <a:off x="6307033" y="5508613"/>
              <a:ext cx="760571" cy="425335"/>
            </a:xfrm>
            <a:prstGeom prst="rect">
              <a:avLst/>
            </a:prstGeom>
          </p:spPr>
        </p:pic>
        <p:pic>
          <p:nvPicPr>
            <p:cNvPr id="20" name="Picture 19" descr="Warner channel Free vector in Encapsulated PostScript eps ( .eps ...">
              <a:extLst>
                <a:ext uri="{FF2B5EF4-FFF2-40B4-BE49-F238E27FC236}">
                  <a16:creationId xmlns:a16="http://schemas.microsoft.com/office/drawing/2014/main" id="{3B53421B-9C09-0187-49E2-20BB143E555B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8507803" y="5438685"/>
              <a:ext cx="381000" cy="523875"/>
            </a:xfrm>
            <a:prstGeom prst="rect">
              <a:avLst/>
            </a:prstGeom>
          </p:spPr>
        </p:pic>
        <p:pic>
          <p:nvPicPr>
            <p:cNvPr id="21" name="Picture 20" descr="Image - Cinecanal (2010-2016).png | Logopedia | FANDOM powered by Wikia">
              <a:extLst>
                <a:ext uri="{FF2B5EF4-FFF2-40B4-BE49-F238E27FC236}">
                  <a16:creationId xmlns:a16="http://schemas.microsoft.com/office/drawing/2014/main" id="{9008F236-D8D5-F7F5-2A19-C0DCB8007165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8994476" y="5465925"/>
              <a:ext cx="543464" cy="469393"/>
            </a:xfrm>
            <a:prstGeom prst="rect">
              <a:avLst/>
            </a:prstGeom>
          </p:spPr>
        </p:pic>
        <p:pic>
          <p:nvPicPr>
            <p:cNvPr id="22" name="Picture 21" descr="Sony Channel | Freeview">
              <a:extLst>
                <a:ext uri="{FF2B5EF4-FFF2-40B4-BE49-F238E27FC236}">
                  <a16:creationId xmlns:a16="http://schemas.microsoft.com/office/drawing/2014/main" id="{CCE268A9-2867-521D-95A4-33E3415CFE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2"/>
            <a:srcRect l="20710" r="20118" b="-2165"/>
            <a:stretch/>
          </p:blipFill>
          <p:spPr>
            <a:xfrm>
              <a:off x="9597488" y="5465276"/>
              <a:ext cx="516877" cy="485180"/>
            </a:xfrm>
            <a:prstGeom prst="rect">
              <a:avLst/>
            </a:prstGeom>
          </p:spPr>
        </p:pic>
        <p:pic>
          <p:nvPicPr>
            <p:cNvPr id="23" name="Picture 22" descr="File:Golden logo.png - Wikimedia Commons">
              <a:extLst>
                <a:ext uri="{FF2B5EF4-FFF2-40B4-BE49-F238E27FC236}">
                  <a16:creationId xmlns:a16="http://schemas.microsoft.com/office/drawing/2014/main" id="{CB9B9907-3CD4-9814-2F5B-6E16891D7339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10210800" y="5444705"/>
              <a:ext cx="583723" cy="540591"/>
            </a:xfrm>
            <a:prstGeom prst="rect">
              <a:avLst/>
            </a:prstGeom>
          </p:spPr>
        </p:pic>
        <p:pic>
          <p:nvPicPr>
            <p:cNvPr id="24" name="Picture 23" descr="Space Channel Logo PNG Vector (CDR) Free Download">
              <a:extLst>
                <a:ext uri="{FF2B5EF4-FFF2-40B4-BE49-F238E27FC236}">
                  <a16:creationId xmlns:a16="http://schemas.microsoft.com/office/drawing/2014/main" id="{BDAB9E7D-9E2D-E6B8-683E-CCB054137DFD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/>
            <a:stretch>
              <a:fillRect/>
            </a:stretch>
          </p:blipFill>
          <p:spPr>
            <a:xfrm>
              <a:off x="10863532" y="5441382"/>
              <a:ext cx="529088" cy="518481"/>
            </a:xfrm>
            <a:prstGeom prst="rect">
              <a:avLst/>
            </a:prstGeom>
          </p:spPr>
        </p:pic>
        <p:pic>
          <p:nvPicPr>
            <p:cNvPr id="25" name="Picture 24" descr="Universal Channel rebrands with '100% Characters' tagline, new logo">
              <a:extLst>
                <a:ext uri="{FF2B5EF4-FFF2-40B4-BE49-F238E27FC236}">
                  <a16:creationId xmlns:a16="http://schemas.microsoft.com/office/drawing/2014/main" id="{FD6ED3E3-E574-D850-DE44-83527C9800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5"/>
            <a:srcRect l="8377" t="-1174" r="9424" b="1042"/>
            <a:stretch/>
          </p:blipFill>
          <p:spPr>
            <a:xfrm>
              <a:off x="11424249" y="5444321"/>
              <a:ext cx="687755" cy="438885"/>
            </a:xfrm>
            <a:prstGeom prst="rect">
              <a:avLst/>
            </a:prstGeom>
          </p:spPr>
        </p:pic>
      </p:grpSp>
      <p:sp>
        <p:nvSpPr>
          <p:cNvPr id="2" name="Rectángulo 1">
            <a:extLst>
              <a:ext uri="{FF2B5EF4-FFF2-40B4-BE49-F238E27FC236}">
                <a16:creationId xmlns:a16="http://schemas.microsoft.com/office/drawing/2014/main" id="{E644A03B-D728-5BE6-FABF-B57901331F77}"/>
              </a:ext>
            </a:extLst>
          </p:cNvPr>
          <p:cNvSpPr/>
          <p:nvPr/>
        </p:nvSpPr>
        <p:spPr>
          <a:xfrm>
            <a:off x="3283087" y="2052249"/>
            <a:ext cx="6205928" cy="220355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s-MX" sz="1600" dirty="0">
                <a:solidFill>
                  <a:schemeClr val="tx1"/>
                </a:solidFill>
              </a:rPr>
              <a:t>Colocar los tácticos a considerar por paí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B9C629E-AEB0-4044-ADED-A5192B1913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693" y="1885193"/>
            <a:ext cx="349138" cy="209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Elipse 2">
            <a:extLst>
              <a:ext uri="{FF2B5EF4-FFF2-40B4-BE49-F238E27FC236}">
                <a16:creationId xmlns:a16="http://schemas.microsoft.com/office/drawing/2014/main" id="{942D6D69-EA34-E745-81A2-D4294A91D80E}"/>
              </a:ext>
            </a:extLst>
          </p:cNvPr>
          <p:cNvSpPr/>
          <p:nvPr/>
        </p:nvSpPr>
        <p:spPr>
          <a:xfrm>
            <a:off x="923668" y="1629736"/>
            <a:ext cx="534416" cy="617087"/>
          </a:xfrm>
          <a:prstGeom prst="ellipse">
            <a:avLst/>
          </a:prstGeom>
          <a:noFill/>
          <a:ln>
            <a:solidFill>
              <a:srgbClr val="FD4D8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s-HN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00037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7C89D8-F472-3A70-A53D-530C2A8461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ource: </a:t>
            </a:r>
          </a:p>
        </p:txBody>
      </p:sp>
      <p:pic>
        <p:nvPicPr>
          <p:cNvPr id="19" name="Picture Placeholder 18" descr="A picture containing person, plant, flower&#10;&#10;Description automatically generated">
            <a:extLst>
              <a:ext uri="{FF2B5EF4-FFF2-40B4-BE49-F238E27FC236}">
                <a16:creationId xmlns:a16="http://schemas.microsoft.com/office/drawing/2014/main" id="{069D9907-3284-6699-C397-0127CDCDDB1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t="21301" b="21301"/>
          <a:stretch/>
        </p:blipFill>
        <p:spPr/>
      </p:pic>
      <p:pic>
        <p:nvPicPr>
          <p:cNvPr id="28" name="Picture Placeholder 27" descr="A picture containing accessory&#10;&#10;Description automatically generated">
            <a:extLst>
              <a:ext uri="{FF2B5EF4-FFF2-40B4-BE49-F238E27FC236}">
                <a16:creationId xmlns:a16="http://schemas.microsoft.com/office/drawing/2014/main" id="{13A0ECF3-B09D-6176-4ACC-DD8D0A9060D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" r="9"/>
          <a:stretch/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EC4E6A-3A0B-0ADC-3A3A-2D14C4ABECA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1"/>
            <a:r>
              <a:rPr lang="en-GB" sz="3200" b="1"/>
              <a:t>HONDURA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7508489-30D8-C057-667D-17E548F289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0DBAEA-A844-2329-F2A9-D036C6BFF4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DCD8D13-AB54-5F93-323B-56F26FC1CC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127B2EA-5794-481B-6046-53ED83435F9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0" y="3432600"/>
            <a:ext cx="6418799" cy="3435353"/>
          </a:xfrm>
        </p:spPr>
        <p:txBody>
          <a:bodyPr/>
          <a:lstStyle/>
          <a:p>
            <a:endParaRPr lang="en-US"/>
          </a:p>
        </p:txBody>
      </p:sp>
      <p:pic>
        <p:nvPicPr>
          <p:cNvPr id="8" name="Picture 129">
            <a:extLst>
              <a:ext uri="{FF2B5EF4-FFF2-40B4-BE49-F238E27FC236}">
                <a16:creationId xmlns:a16="http://schemas.microsoft.com/office/drawing/2014/main" id="{9EBE2E50-98C2-2F6B-34DC-DACA857A436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926870" y="744419"/>
            <a:ext cx="2028761" cy="2028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6683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A5E533-73B0-01FB-5329-10954E700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286043"/>
            <a:ext cx="2574840" cy="541217"/>
          </a:xfrm>
        </p:spPr>
        <p:txBody>
          <a:bodyPr/>
          <a:lstStyle/>
          <a:p>
            <a:pPr algn="l" rtl="0"/>
            <a:r>
              <a:rPr lang="es-MX"/>
              <a:t>ROAD MAP</a:t>
            </a:r>
          </a:p>
        </p:txBody>
      </p:sp>
      <p:sp>
        <p:nvSpPr>
          <p:cNvPr id="39" name="Rectangle: Rounded Corners 4">
            <a:extLst>
              <a:ext uri="{FF2B5EF4-FFF2-40B4-BE49-F238E27FC236}">
                <a16:creationId xmlns:a16="http://schemas.microsoft.com/office/drawing/2014/main" id="{6BA268EB-85EC-4C9B-BCF1-1DCD38F429BD}"/>
              </a:ext>
            </a:extLst>
          </p:cNvPr>
          <p:cNvSpPr/>
          <p:nvPr/>
        </p:nvSpPr>
        <p:spPr>
          <a:xfrm rot="16200000">
            <a:off x="-891256" y="4594511"/>
            <a:ext cx="3039749" cy="26311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IGITAL</a:t>
            </a:r>
          </a:p>
        </p:txBody>
      </p:sp>
      <p:graphicFrame>
        <p:nvGraphicFramePr>
          <p:cNvPr id="40" name="Table 13">
            <a:extLst>
              <a:ext uri="{FF2B5EF4-FFF2-40B4-BE49-F238E27FC236}">
                <a16:creationId xmlns:a16="http://schemas.microsoft.com/office/drawing/2014/main" id="{E50DC66E-CC98-4418-AFD0-1CA6B9C144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3101829"/>
              </p:ext>
            </p:extLst>
          </p:nvPr>
        </p:nvGraphicFramePr>
        <p:xfrm>
          <a:off x="1015595" y="3206196"/>
          <a:ext cx="10149013" cy="2611421"/>
        </p:xfrm>
        <a:graphic>
          <a:graphicData uri="http://schemas.openxmlformats.org/drawingml/2006/table">
            <a:tbl>
              <a:tblPr/>
              <a:tblGrid>
                <a:gridCol w="866350">
                  <a:extLst>
                    <a:ext uri="{9D8B030D-6E8A-4147-A177-3AD203B41FA5}">
                      <a16:colId xmlns:a16="http://schemas.microsoft.com/office/drawing/2014/main" val="1159214674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1430846727"/>
                    </a:ext>
                  </a:extLst>
                </a:gridCol>
                <a:gridCol w="1402702">
                  <a:extLst>
                    <a:ext uri="{9D8B030D-6E8A-4147-A177-3AD203B41FA5}">
                      <a16:colId xmlns:a16="http://schemas.microsoft.com/office/drawing/2014/main" val="120266068"/>
                    </a:ext>
                  </a:extLst>
                </a:gridCol>
                <a:gridCol w="25400">
                  <a:extLst>
                    <a:ext uri="{9D8B030D-6E8A-4147-A177-3AD203B41FA5}">
                      <a16:colId xmlns:a16="http://schemas.microsoft.com/office/drawing/2014/main" val="3568682261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2175271297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1279566585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2553792247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050529919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963350951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725381274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1496237563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005630223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544124801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636195450"/>
                    </a:ext>
                  </a:extLst>
                </a:gridCol>
              </a:tblGrid>
              <a:tr h="504183">
                <a:tc>
                  <a:txBody>
                    <a:bodyPr/>
                    <a:lstStyle/>
                    <a:p>
                      <a:pPr marL="0" marR="0" lvl="0" indent="0" algn="ctr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/>
                        </a:rPr>
                        <a:t> </a:t>
                      </a:r>
                      <a:r>
                        <a:rPr lang="en-GB" sz="900" b="1" i="0" u="none" strike="noStrike" kern="1200">
                          <a:solidFill>
                            <a:schemeClr val="tx1"/>
                          </a:solidFill>
                          <a:effectLst/>
                          <a:latin typeface="Century Gothic"/>
                          <a:ea typeface="+mn-ea"/>
                          <a:cs typeface="+mn-cs"/>
                        </a:rPr>
                        <a:t>Social Media </a:t>
                      </a:r>
                    </a:p>
                    <a:p>
                      <a:pPr marL="0" marR="0" lvl="0" indent="0" algn="ctr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GB" sz="900" b="1" i="0" u="none" strike="noStrike" kern="1200">
                          <a:solidFill>
                            <a:schemeClr val="tx1"/>
                          </a:solidFill>
                          <a:effectLst/>
                          <a:latin typeface="Century Gothic"/>
                          <a:ea typeface="+mn-ea"/>
                          <a:cs typeface="+mn-cs"/>
                        </a:rPr>
                        <a:t>+ DV360</a:t>
                      </a:r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wa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102206"/>
                  </a:ext>
                </a:extLst>
              </a:tr>
              <a:tr h="461642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/>
                        </a:rPr>
                        <a:t>Non-Program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8684724"/>
                  </a:ext>
                </a:extLst>
              </a:tr>
              <a:tr h="392631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err="1">
                          <a:solidFill>
                            <a:schemeClr val="tx1"/>
                          </a:solidFill>
                          <a:effectLst/>
                          <a:latin typeface="Century Gothic"/>
                        </a:rPr>
                        <a:t>Youtube</a:t>
                      </a:r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ons.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6780309"/>
                  </a:ext>
                </a:extLst>
              </a:tr>
              <a:tr h="446174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err="1">
                          <a:solidFill>
                            <a:schemeClr val="tx1"/>
                          </a:solidFill>
                          <a:effectLst/>
                          <a:latin typeface="Century Gothic"/>
                        </a:rPr>
                        <a:t>Teads</a:t>
                      </a:r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2751972"/>
                  </a:ext>
                </a:extLst>
              </a:tr>
              <a:tr h="396311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/>
                        </a:rPr>
                        <a:t>Tik Tok </a:t>
                      </a:r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8926349"/>
                  </a:ext>
                </a:extLst>
              </a:tr>
              <a:tr h="410480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/>
                        </a:rPr>
                        <a:t>KOL</a:t>
                      </a:r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0836545"/>
                  </a:ext>
                </a:extLst>
              </a:tr>
            </a:tbl>
          </a:graphicData>
        </a:graphic>
      </p:graphicFrame>
      <p:sp>
        <p:nvSpPr>
          <p:cNvPr id="43" name="Rectangle: Rounded Corners 48">
            <a:extLst>
              <a:ext uri="{FF2B5EF4-FFF2-40B4-BE49-F238E27FC236}">
                <a16:creationId xmlns:a16="http://schemas.microsoft.com/office/drawing/2014/main" id="{CC05759F-B565-4475-BDCB-FA9A54565488}"/>
              </a:ext>
            </a:extLst>
          </p:cNvPr>
          <p:cNvSpPr/>
          <p:nvPr/>
        </p:nvSpPr>
        <p:spPr>
          <a:xfrm rot="16200000">
            <a:off x="-85824" y="2026050"/>
            <a:ext cx="1404000" cy="2880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OFFLINE</a:t>
            </a:r>
          </a:p>
        </p:txBody>
      </p:sp>
      <p:graphicFrame>
        <p:nvGraphicFramePr>
          <p:cNvPr id="48" name="Table 13">
            <a:extLst>
              <a:ext uri="{FF2B5EF4-FFF2-40B4-BE49-F238E27FC236}">
                <a16:creationId xmlns:a16="http://schemas.microsoft.com/office/drawing/2014/main" id="{E630D7B1-B896-4C1D-B4AE-B59DDAD08D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4580976"/>
              </p:ext>
            </p:extLst>
          </p:nvPr>
        </p:nvGraphicFramePr>
        <p:xfrm>
          <a:off x="1015602" y="1118969"/>
          <a:ext cx="10149013" cy="1762188"/>
        </p:xfrm>
        <a:graphic>
          <a:graphicData uri="http://schemas.openxmlformats.org/drawingml/2006/table">
            <a:tbl>
              <a:tblPr/>
              <a:tblGrid>
                <a:gridCol w="866350">
                  <a:extLst>
                    <a:ext uri="{9D8B030D-6E8A-4147-A177-3AD203B41FA5}">
                      <a16:colId xmlns:a16="http://schemas.microsoft.com/office/drawing/2014/main" val="1159214674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1016181184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120266068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568682261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2175271297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1279566585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2553792247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050529919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963350951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725381274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1496237563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005630223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544124801"/>
                    </a:ext>
                  </a:extLst>
                </a:gridCol>
                <a:gridCol w="714051">
                  <a:extLst>
                    <a:ext uri="{9D8B030D-6E8A-4147-A177-3AD203B41FA5}">
                      <a16:colId xmlns:a16="http://schemas.microsoft.com/office/drawing/2014/main" val="3636195450"/>
                    </a:ext>
                  </a:extLst>
                </a:gridCol>
              </a:tblGrid>
              <a:tr h="353572"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ETAPA DEL FUNNEL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EN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FE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MA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B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MA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U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U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G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SE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OC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O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IC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2967622"/>
                  </a:ext>
                </a:extLst>
              </a:tr>
              <a:tr h="31133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TV abierta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wa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gridSpan="12"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102206"/>
                  </a:ext>
                </a:extLst>
              </a:tr>
              <a:tr h="311336">
                <a:tc>
                  <a:txBody>
                    <a:bodyPr/>
                    <a:lstStyle/>
                    <a:p>
                      <a:pPr algn="ctr" rtl="0" fontAlgn="b"/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TV de paga</a:t>
                      </a:r>
                    </a:p>
                    <a:p>
                      <a:pPr algn="ctr" rtl="0" fontAlgn="b"/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algn="ctr" rtl="0" fontAlgn="b"/>
                      <a:endParaRPr lang="en-GB" sz="900" b="1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8684724"/>
                  </a:ext>
                </a:extLst>
              </a:tr>
              <a:tr h="311336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Exterio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2743544"/>
                  </a:ext>
                </a:extLst>
              </a:tr>
            </a:tbl>
          </a:graphicData>
        </a:graphic>
      </p:graphicFrame>
      <p:sp>
        <p:nvSpPr>
          <p:cNvPr id="21" name="Rounded Rectangle 14">
            <a:extLst>
              <a:ext uri="{FF2B5EF4-FFF2-40B4-BE49-F238E27FC236}">
                <a16:creationId xmlns:a16="http://schemas.microsoft.com/office/drawing/2014/main" id="{7FDF66FE-58AE-A646-9CF3-0BFB79886A71}"/>
              </a:ext>
            </a:extLst>
          </p:cNvPr>
          <p:cNvSpPr/>
          <p:nvPr/>
        </p:nvSpPr>
        <p:spPr>
          <a:xfrm>
            <a:off x="6901142" y="1600467"/>
            <a:ext cx="688494" cy="226903"/>
          </a:xfrm>
          <a:prstGeom prst="roundRect">
            <a:avLst>
              <a:gd name="adj" fmla="val 5000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3" name="Rounded Rectangle 14">
            <a:extLst>
              <a:ext uri="{FF2B5EF4-FFF2-40B4-BE49-F238E27FC236}">
                <a16:creationId xmlns:a16="http://schemas.microsoft.com/office/drawing/2014/main" id="{C36E9444-B749-564D-AC57-1CEE4CC449B2}"/>
              </a:ext>
            </a:extLst>
          </p:cNvPr>
          <p:cNvSpPr/>
          <p:nvPr/>
        </p:nvSpPr>
        <p:spPr>
          <a:xfrm>
            <a:off x="7606152" y="1612344"/>
            <a:ext cx="771471" cy="212828"/>
          </a:xfrm>
          <a:prstGeom prst="roundRect">
            <a:avLst>
              <a:gd name="adj" fmla="val 5000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4" name="Rounded Rectangle 14">
            <a:extLst>
              <a:ext uri="{FF2B5EF4-FFF2-40B4-BE49-F238E27FC236}">
                <a16:creationId xmlns:a16="http://schemas.microsoft.com/office/drawing/2014/main" id="{38ED35E3-9DCE-0F4A-8A3B-5370907A3635}"/>
              </a:ext>
            </a:extLst>
          </p:cNvPr>
          <p:cNvSpPr/>
          <p:nvPr/>
        </p:nvSpPr>
        <p:spPr>
          <a:xfrm>
            <a:off x="8997327" y="1612383"/>
            <a:ext cx="771471" cy="212828"/>
          </a:xfrm>
          <a:prstGeom prst="roundRect">
            <a:avLst>
              <a:gd name="adj" fmla="val 5000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BD4EFF6-F40E-A246-824C-B5AAE2DA3BFF}"/>
              </a:ext>
            </a:extLst>
          </p:cNvPr>
          <p:cNvSpPr txBox="1"/>
          <p:nvPr/>
        </p:nvSpPr>
        <p:spPr>
          <a:xfrm>
            <a:off x="5904995" y="1426686"/>
            <a:ext cx="450475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000" i="1" dirty="0"/>
              <a:t>Patrocinio de sec de salud en noticieros y en espacos de revistas TVC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652EF336-0DAC-FD43-89E1-5AA493E0008A}"/>
              </a:ext>
            </a:extLst>
          </p:cNvPr>
          <p:cNvSpPr txBox="1"/>
          <p:nvPr/>
        </p:nvSpPr>
        <p:spPr>
          <a:xfrm>
            <a:off x="11017769" y="672761"/>
            <a:ext cx="637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dirty="0"/>
              <a:t>HN</a:t>
            </a:r>
            <a:endParaRPr lang="es-MX" dirty="0"/>
          </a:p>
        </p:txBody>
      </p:sp>
      <p:pic>
        <p:nvPicPr>
          <p:cNvPr id="26" name="Picture 129">
            <a:extLst>
              <a:ext uri="{FF2B5EF4-FFF2-40B4-BE49-F238E27FC236}">
                <a16:creationId xmlns:a16="http://schemas.microsoft.com/office/drawing/2014/main" id="{A1DC3DB1-FFCC-E049-B897-76C909F0967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051697" y="300603"/>
            <a:ext cx="388372" cy="388372"/>
          </a:xfrm>
          <a:prstGeom prst="rect">
            <a:avLst/>
          </a:prstGeom>
        </p:spPr>
      </p:pic>
      <p:sp>
        <p:nvSpPr>
          <p:cNvPr id="27" name="Rounded Rectangle 14">
            <a:extLst>
              <a:ext uri="{FF2B5EF4-FFF2-40B4-BE49-F238E27FC236}">
                <a16:creationId xmlns:a16="http://schemas.microsoft.com/office/drawing/2014/main" id="{5089553E-41FD-0240-A622-06A5F3147005}"/>
              </a:ext>
            </a:extLst>
          </p:cNvPr>
          <p:cNvSpPr/>
          <p:nvPr/>
        </p:nvSpPr>
        <p:spPr>
          <a:xfrm>
            <a:off x="6136857" y="3747751"/>
            <a:ext cx="716783" cy="212828"/>
          </a:xfrm>
          <a:prstGeom prst="roundRect">
            <a:avLst>
              <a:gd name="adj" fmla="val 5000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8" name="Rounded Rectangle 14">
            <a:extLst>
              <a:ext uri="{FF2B5EF4-FFF2-40B4-BE49-F238E27FC236}">
                <a16:creationId xmlns:a16="http://schemas.microsoft.com/office/drawing/2014/main" id="{6EF27659-1D39-2246-ACE0-A1497FCBC940}"/>
              </a:ext>
            </a:extLst>
          </p:cNvPr>
          <p:cNvSpPr/>
          <p:nvPr/>
        </p:nvSpPr>
        <p:spPr>
          <a:xfrm>
            <a:off x="6877391" y="3747749"/>
            <a:ext cx="688494" cy="226903"/>
          </a:xfrm>
          <a:prstGeom prst="roundRect">
            <a:avLst>
              <a:gd name="adj" fmla="val 5000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2A1225A4-4A4A-1248-AD20-3168359C3A92}"/>
              </a:ext>
            </a:extLst>
          </p:cNvPr>
          <p:cNvSpPr txBox="1"/>
          <p:nvPr/>
        </p:nvSpPr>
        <p:spPr>
          <a:xfrm>
            <a:off x="2600697" y="3942264"/>
            <a:ext cx="8563912" cy="24622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HN" sz="1000" dirty="0"/>
              <a:t>200K impresiones en sitios en tunota.com y sitios TVC | 200k impresiones Push notificación en sitios TVC| 10 post en RS TVC </a:t>
            </a: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B1A528DF-A05D-484D-9971-B2AC0D5C26AC}"/>
              </a:ext>
            </a:extLst>
          </p:cNvPr>
          <p:cNvSpPr txBox="1"/>
          <p:nvPr/>
        </p:nvSpPr>
        <p:spPr>
          <a:xfrm>
            <a:off x="2585689" y="3942264"/>
            <a:ext cx="7203080" cy="24622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HN" sz="1000" dirty="0"/>
              <a:t>200K impresiones en sitios en tunota.com y sitios TVC | 200k impresiones Push notificación | 10 post en RS TVC </a:t>
            </a:r>
          </a:p>
        </p:txBody>
      </p:sp>
      <p:graphicFrame>
        <p:nvGraphicFramePr>
          <p:cNvPr id="31" name="Tabla 14">
            <a:extLst>
              <a:ext uri="{FF2B5EF4-FFF2-40B4-BE49-F238E27FC236}">
                <a16:creationId xmlns:a16="http://schemas.microsoft.com/office/drawing/2014/main" id="{EF1933D6-2A5A-F447-83ED-08F6143FC9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3239545"/>
              </p:ext>
            </p:extLst>
          </p:nvPr>
        </p:nvGraphicFramePr>
        <p:xfrm>
          <a:off x="1061896" y="5883584"/>
          <a:ext cx="3615611" cy="88392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803181">
                  <a:extLst>
                    <a:ext uri="{9D8B030D-6E8A-4147-A177-3AD203B41FA5}">
                      <a16:colId xmlns:a16="http://schemas.microsoft.com/office/drawing/2014/main" val="2081193070"/>
                    </a:ext>
                  </a:extLst>
                </a:gridCol>
                <a:gridCol w="581508">
                  <a:extLst>
                    <a:ext uri="{9D8B030D-6E8A-4147-A177-3AD203B41FA5}">
                      <a16:colId xmlns:a16="http://schemas.microsoft.com/office/drawing/2014/main" val="2514242767"/>
                    </a:ext>
                  </a:extLst>
                </a:gridCol>
                <a:gridCol w="1230922">
                  <a:extLst>
                    <a:ext uri="{9D8B030D-6E8A-4147-A177-3AD203B41FA5}">
                      <a16:colId xmlns:a16="http://schemas.microsoft.com/office/drawing/2014/main" val="94462239"/>
                    </a:ext>
                  </a:extLst>
                </a:gridCol>
              </a:tblGrid>
              <a:tr h="236222">
                <a:tc>
                  <a:txBody>
                    <a:bodyPr/>
                    <a:lstStyle/>
                    <a:p>
                      <a:r>
                        <a:rPr lang="es-HN" sz="1000" dirty="0"/>
                        <a:t>MEDI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HN" sz="1000" dirty="0"/>
                        <a:t>IN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HN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7954750"/>
                  </a:ext>
                </a:extLst>
              </a:tr>
              <a:tr h="206694">
                <a:tc>
                  <a:txBody>
                    <a:bodyPr/>
                    <a:lstStyle/>
                    <a:p>
                      <a:r>
                        <a:rPr lang="es-HN" sz="800" dirty="0"/>
                        <a:t>T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800" dirty="0"/>
                        <a:t>$34,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800" dirty="0"/>
                        <a:t>5,047 trps – CXP $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8529919"/>
                  </a:ext>
                </a:extLst>
              </a:tr>
              <a:tr h="212416">
                <a:tc>
                  <a:txBody>
                    <a:bodyPr/>
                    <a:lstStyle/>
                    <a:p>
                      <a:r>
                        <a:rPr lang="es-HN" sz="800" dirty="0"/>
                        <a:t>Digital (Non-Progrmat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800" dirty="0"/>
                        <a:t>$3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800" dirty="0"/>
                        <a:t>1200K impre.|30 po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1743645"/>
                  </a:ext>
                </a:extLst>
              </a:tr>
              <a:tr h="206694">
                <a:tc>
                  <a:txBody>
                    <a:bodyPr/>
                    <a:lstStyle/>
                    <a:p>
                      <a:r>
                        <a:rPr lang="es-HN" sz="800" b="1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800" b="1" dirty="0"/>
                        <a:t>$37,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s-HN" sz="8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9866747"/>
                  </a:ext>
                </a:extLst>
              </a:tr>
            </a:tbl>
          </a:graphicData>
        </a:graphic>
      </p:graphicFrame>
      <p:sp>
        <p:nvSpPr>
          <p:cNvPr id="33" name="CuadroTexto 32">
            <a:extLst>
              <a:ext uri="{FF2B5EF4-FFF2-40B4-BE49-F238E27FC236}">
                <a16:creationId xmlns:a16="http://schemas.microsoft.com/office/drawing/2014/main" id="{4F0B9BF2-C99E-D34D-9F69-CF62940AA4E2}"/>
              </a:ext>
            </a:extLst>
          </p:cNvPr>
          <p:cNvSpPr txBox="1"/>
          <p:nvPr/>
        </p:nvSpPr>
        <p:spPr>
          <a:xfrm>
            <a:off x="7035527" y="1790250"/>
            <a:ext cx="5212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000" i="1" dirty="0"/>
              <a:t>(40%)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3686DBCA-EBDA-EB43-9718-F754C52B9309}"/>
              </a:ext>
            </a:extLst>
          </p:cNvPr>
          <p:cNvSpPr txBox="1"/>
          <p:nvPr/>
        </p:nvSpPr>
        <p:spPr>
          <a:xfrm>
            <a:off x="7826161" y="1797087"/>
            <a:ext cx="5212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000" i="1" dirty="0"/>
              <a:t>(30%)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8B58159F-9CC1-9640-B67E-CB02D604CBD5}"/>
              </a:ext>
            </a:extLst>
          </p:cNvPr>
          <p:cNvSpPr txBox="1"/>
          <p:nvPr/>
        </p:nvSpPr>
        <p:spPr>
          <a:xfrm>
            <a:off x="9170504" y="1803924"/>
            <a:ext cx="5212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000" i="1" dirty="0"/>
              <a:t>(20%)</a:t>
            </a:r>
          </a:p>
        </p:txBody>
      </p:sp>
      <p:sp>
        <p:nvSpPr>
          <p:cNvPr id="36" name="Rounded Rectangle 14">
            <a:extLst>
              <a:ext uri="{FF2B5EF4-FFF2-40B4-BE49-F238E27FC236}">
                <a16:creationId xmlns:a16="http://schemas.microsoft.com/office/drawing/2014/main" id="{6A0BE0B5-4FC5-7F47-80BA-16D7AC79F617}"/>
              </a:ext>
            </a:extLst>
          </p:cNvPr>
          <p:cNvSpPr/>
          <p:nvPr/>
        </p:nvSpPr>
        <p:spPr>
          <a:xfrm>
            <a:off x="2600697" y="1888367"/>
            <a:ext cx="1405246" cy="135623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en-GB" sz="600" i="1" dirty="0" err="1">
                <a:solidFill>
                  <a:srgbClr val="FFFFFF"/>
                </a:solidFill>
                <a:latin typeface="Century Gothic" panose="020F0302020204030204"/>
              </a:rPr>
              <a:t>Iberoflora</a:t>
            </a:r>
            <a:r>
              <a:rPr lang="en-GB" sz="600" i="1" dirty="0">
                <a:solidFill>
                  <a:srgbClr val="FFFFFF"/>
                </a:solidFill>
                <a:latin typeface="Century Gothic" panose="020F0302020204030204"/>
              </a:rPr>
              <a:t> (50%)</a:t>
            </a:r>
            <a:endParaRPr kumimoji="0" lang="en-GB" sz="6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7" name="Rounded Rectangle 14">
            <a:extLst>
              <a:ext uri="{FF2B5EF4-FFF2-40B4-BE49-F238E27FC236}">
                <a16:creationId xmlns:a16="http://schemas.microsoft.com/office/drawing/2014/main" id="{0971EF5D-4683-7148-931D-82B8142F5F1D}"/>
              </a:ext>
            </a:extLst>
          </p:cNvPr>
          <p:cNvSpPr/>
          <p:nvPr/>
        </p:nvSpPr>
        <p:spPr>
          <a:xfrm>
            <a:off x="5378336" y="1877608"/>
            <a:ext cx="808893" cy="121078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en-GB" sz="600" i="1" dirty="0" err="1">
                <a:solidFill>
                  <a:srgbClr val="FFFFFF"/>
                </a:solidFill>
                <a:latin typeface="Century Gothic" panose="020F0302020204030204"/>
              </a:rPr>
              <a:t>Iberoflora</a:t>
            </a:r>
            <a:r>
              <a:rPr lang="en-GB" sz="600" i="1" dirty="0">
                <a:solidFill>
                  <a:srgbClr val="FFFFFF"/>
                </a:solidFill>
                <a:latin typeface="Century Gothic" panose="020F0302020204030204"/>
              </a:rPr>
              <a:t> (25%)</a:t>
            </a:r>
            <a:endParaRPr kumimoji="0" lang="en-GB" sz="6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8" name="Rounded Rectangle 14">
            <a:extLst>
              <a:ext uri="{FF2B5EF4-FFF2-40B4-BE49-F238E27FC236}">
                <a16:creationId xmlns:a16="http://schemas.microsoft.com/office/drawing/2014/main" id="{9FACCBD2-EB30-7B43-83DF-CEE3B1A10946}"/>
              </a:ext>
            </a:extLst>
          </p:cNvPr>
          <p:cNvSpPr/>
          <p:nvPr/>
        </p:nvSpPr>
        <p:spPr>
          <a:xfrm>
            <a:off x="8280798" y="1873662"/>
            <a:ext cx="808893" cy="121078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en-GB" sz="600" i="1" dirty="0" err="1">
                <a:solidFill>
                  <a:srgbClr val="FFFFFF"/>
                </a:solidFill>
                <a:latin typeface="Century Gothic" panose="020F0302020204030204"/>
              </a:rPr>
              <a:t>Iberoflora</a:t>
            </a:r>
            <a:r>
              <a:rPr lang="en-GB" sz="600" i="1" dirty="0">
                <a:solidFill>
                  <a:srgbClr val="FFFFFF"/>
                </a:solidFill>
                <a:latin typeface="Century Gothic" panose="020F0302020204030204"/>
              </a:rPr>
              <a:t> (25%)</a:t>
            </a:r>
            <a:endParaRPr kumimoji="0" lang="en-GB" sz="6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12520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picture containing person, green&#10;&#10;Description automatically generated">
            <a:extLst>
              <a:ext uri="{FF2B5EF4-FFF2-40B4-BE49-F238E27FC236}">
                <a16:creationId xmlns:a16="http://schemas.microsoft.com/office/drawing/2014/main" id="{029E1BA3-332B-30C6-A2E3-CDE5A965A3A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5" b="165"/>
          <a:stretch/>
        </p:blipFill>
        <p:spPr/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6D33F0D-0C29-77AC-6C7A-274E1479C99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90AEA4-C5AB-7254-0C20-2DFC63D3AC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48D6D33-2A29-AB0E-5A41-75D7F481A1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51285" y="2743200"/>
            <a:ext cx="4624039" cy="2743200"/>
          </a:xfrm>
        </p:spPr>
        <p:txBody>
          <a:bodyPr/>
          <a:lstStyle/>
          <a:p>
            <a:r>
              <a:rPr lang="en-GB"/>
              <a:t>GRACIA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36F9F9-D26F-4112-C52C-5CAF823B19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0217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Bayer2022">
  <a:themeElements>
    <a:clrScheme name="Bayer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ayer2022" id="{B7CCB527-75FA-4B99-915D-CAFDC39B61C9}" vid="{5CD6347D-6214-46B0-B893-50B1B3499992}"/>
    </a:ext>
  </a:extLst>
</a:theme>
</file>

<file path=ppt/theme/theme10.xml><?xml version="1.0" encoding="utf-8"?>
<a:theme xmlns:a="http://schemas.openxmlformats.org/drawingml/2006/main" name="1_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4_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12.xml><?xml version="1.0" encoding="utf-8"?>
<a:theme xmlns:a="http://schemas.openxmlformats.org/drawingml/2006/main" name="1_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13.xml><?xml version="1.0" encoding="utf-8"?>
<a:theme xmlns:a="http://schemas.openxmlformats.org/drawingml/2006/main" name="1_Bayer2022">
  <a:themeElements>
    <a:clrScheme name="Bayer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ayer2022" id="{B7CCB527-75FA-4B99-915D-CAFDC39B61C9}" vid="{5CD6347D-6214-46B0-B893-50B1B3499992}"/>
    </a:ext>
  </a:extLst>
</a:theme>
</file>

<file path=ppt/theme/theme14.xml><?xml version="1.0" encoding="utf-8"?>
<a:theme xmlns:a="http://schemas.openxmlformats.org/drawingml/2006/main" name="2_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15.xml><?xml version="1.0" encoding="utf-8"?>
<a:theme xmlns:a="http://schemas.openxmlformats.org/drawingml/2006/main" name="3_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16.xml><?xml version="1.0" encoding="utf-8"?>
<a:theme xmlns:a="http://schemas.openxmlformats.org/drawingml/2006/main" name="2_Bayer2022">
  <a:themeElements>
    <a:clrScheme name="Bayer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ayer2022" id="{B7CCB527-75FA-4B99-915D-CAFDC39B61C9}" vid="{5CD6347D-6214-46B0-B893-50B1B3499992}"/>
    </a:ext>
  </a:extLst>
</a:theme>
</file>

<file path=ppt/theme/theme17.xml><?xml version="1.0" encoding="utf-8"?>
<a:theme xmlns:a="http://schemas.openxmlformats.org/drawingml/2006/main" name="5_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18.xml><?xml version="1.0" encoding="utf-8"?>
<a:theme xmlns:a="http://schemas.openxmlformats.org/drawingml/2006/main" name="3_Bayer2022">
  <a:themeElements>
    <a:clrScheme name="Bayer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ayer2022" id="{B7CCB527-75FA-4B99-915D-CAFDC39B61C9}" vid="{5CD6347D-6214-46B0-B893-50B1B3499992}"/>
    </a:ext>
  </a:extLst>
</a:theme>
</file>

<file path=ppt/theme/theme19.xml><?xml version="1.0" encoding="utf-8"?>
<a:theme xmlns:a="http://schemas.openxmlformats.org/drawingml/2006/main" name="6_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2.xml><?xml version="1.0" encoding="utf-8"?>
<a:theme xmlns:a="http://schemas.openxmlformats.org/drawingml/2006/main" name="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5.xml><?xml version="1.0" encoding="utf-8"?>
<a:theme xmlns:a="http://schemas.openxmlformats.org/drawingml/2006/main" name="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Bayer x MC // June 2021">
  <a:themeElements>
    <a:clrScheme name="Bayer Share and Scale Colours 1">
      <a:dk1>
        <a:srgbClr val="011627"/>
      </a:dk1>
      <a:lt1>
        <a:srgbClr val="FFFFFF"/>
      </a:lt1>
      <a:dk2>
        <a:srgbClr val="404E5C"/>
      </a:dk2>
      <a:lt2>
        <a:srgbClr val="E1005D"/>
      </a:lt2>
      <a:accent1>
        <a:srgbClr val="E1005D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E1005D"/>
      </a:hlink>
      <a:folHlink>
        <a:srgbClr val="E1005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3_Bayer x MC // June 2021">
  <a:themeElements>
    <a:clrScheme name="Bayer 2021 Colour Theme">
      <a:dk1>
        <a:srgbClr val="011627"/>
      </a:dk1>
      <a:lt1>
        <a:srgbClr val="FFFFFF"/>
      </a:lt1>
      <a:dk2>
        <a:srgbClr val="404E5C"/>
      </a:dk2>
      <a:lt2>
        <a:srgbClr val="E1005D"/>
      </a:lt2>
      <a:accent1>
        <a:srgbClr val="E1005D"/>
      </a:accent1>
      <a:accent2>
        <a:srgbClr val="404E5C"/>
      </a:accent2>
      <a:accent3>
        <a:srgbClr val="FF9914"/>
      </a:accent3>
      <a:accent4>
        <a:srgbClr val="89D328"/>
      </a:accent4>
      <a:accent5>
        <a:srgbClr val="EDF2F3"/>
      </a:accent5>
      <a:accent6>
        <a:srgbClr val="00BCFF"/>
      </a:accent6>
      <a:hlink>
        <a:srgbClr val="E1005D"/>
      </a:hlink>
      <a:folHlink>
        <a:srgbClr val="E1005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5B94F34BE25844A86FA9DAE1C52FEF1" ma:contentTypeVersion="16" ma:contentTypeDescription="Crear nuevo documento." ma:contentTypeScope="" ma:versionID="555b3c5df667817f7730beb742767c77">
  <xsd:schema xmlns:xsd="http://www.w3.org/2001/XMLSchema" xmlns:xs="http://www.w3.org/2001/XMLSchema" xmlns:p="http://schemas.microsoft.com/office/2006/metadata/properties" xmlns:ns2="ddd732a4-5925-4a41-9a76-3e713d750e73" xmlns:ns3="642023b6-027f-42b2-ae3f-68219e5a4115" targetNamespace="http://schemas.microsoft.com/office/2006/metadata/properties" ma:root="true" ma:fieldsID="de81f8ce0e6b0bdbc77e9675f24123c8" ns2:_="" ns3:_="">
    <xsd:import namespace="ddd732a4-5925-4a41-9a76-3e713d750e73"/>
    <xsd:import namespace="642023b6-027f-42b2-ae3f-68219e5a41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d732a4-5925-4a41-9a76-3e713d750e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Etiquetas de imagen" ma:readOnly="false" ma:fieldId="{5cf76f15-5ced-4ddc-b409-7134ff3c332f}" ma:taxonomyMulti="true" ma:sspId="cb8c6112-a551-416c-b446-07c3fc3d0d4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2023b6-027f-42b2-ae3f-68219e5a411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b23bbc7-fbbf-45f3-bf5a-f347bc23a60a}" ma:internalName="TaxCatchAll" ma:showField="CatchAllData" ma:web="642023b6-027f-42b2-ae3f-68219e5a41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42023b6-027f-42b2-ae3f-68219e5a4115" xsi:nil="true"/>
    <lcf76f155ced4ddcb4097134ff3c332f xmlns="ddd732a4-5925-4a41-9a76-3e713d750e73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DF973EF-B4CF-4355-A69E-A4C27E18601A}">
  <ds:schemaRefs>
    <ds:schemaRef ds:uri="642023b6-027f-42b2-ae3f-68219e5a4115"/>
    <ds:schemaRef ds:uri="ddd732a4-5925-4a41-9a76-3e713d750e7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409161F-846A-4C10-9E69-A82A45711D9D}">
  <ds:schemaRefs>
    <ds:schemaRef ds:uri="http://purl.org/dc/dcmitype/"/>
    <ds:schemaRef ds:uri="http://purl.org/dc/terms/"/>
    <ds:schemaRef ds:uri="http://purl.org/dc/elements/1.1/"/>
    <ds:schemaRef ds:uri="642023b6-027f-42b2-ae3f-68219e5a4115"/>
    <ds:schemaRef ds:uri="http://www.w3.org/XML/1998/namespace"/>
    <ds:schemaRef ds:uri="ddd732a4-5925-4a41-9a76-3e713d750e73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3C2BB7E1-7F3B-4741-BA22-30E5E778D53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36</TotalTime>
  <Words>531</Words>
  <Application>Microsoft Macintosh PowerPoint</Application>
  <PresentationFormat>Panorámica</PresentationFormat>
  <Paragraphs>155</Paragraphs>
  <Slides>9</Slides>
  <Notes>2</Notes>
  <HiddenSlides>0</HiddenSlides>
  <MMClips>0</MMClips>
  <ScaleCrop>false</ScaleCrop>
  <HeadingPairs>
    <vt:vector size="6" baseType="variant">
      <vt:variant>
        <vt:lpstr>Fuentes usadas</vt:lpstr>
      </vt:variant>
      <vt:variant>
        <vt:i4>7</vt:i4>
      </vt:variant>
      <vt:variant>
        <vt:lpstr>Tema</vt:lpstr>
      </vt:variant>
      <vt:variant>
        <vt:i4>19</vt:i4>
      </vt:variant>
      <vt:variant>
        <vt:lpstr>Títulos de diapositiva</vt:lpstr>
      </vt:variant>
      <vt:variant>
        <vt:i4>9</vt:i4>
      </vt:variant>
    </vt:vector>
  </HeadingPairs>
  <TitlesOfParts>
    <vt:vector size="35" baseType="lpstr">
      <vt:lpstr>Amasis MT Pro Black</vt:lpstr>
      <vt:lpstr>Arial</vt:lpstr>
      <vt:lpstr>Calibri</vt:lpstr>
      <vt:lpstr>Century Gothic</vt:lpstr>
      <vt:lpstr>System Font Regular</vt:lpstr>
      <vt:lpstr>Tahoma</vt:lpstr>
      <vt:lpstr>Verdana</vt:lpstr>
      <vt:lpstr>Bayer2022</vt:lpstr>
      <vt:lpstr>Bayer x MC // June 2021</vt:lpstr>
      <vt:lpstr>1_Bayer x MC // June 2021</vt:lpstr>
      <vt:lpstr>Bayer2023</vt:lpstr>
      <vt:lpstr>emTemplate // Jan 2023</vt:lpstr>
      <vt:lpstr>2_Bayer x MC // June 2021</vt:lpstr>
      <vt:lpstr>2_emTemplate // Jan 2023</vt:lpstr>
      <vt:lpstr>3_emTemplate // Jan 2023</vt:lpstr>
      <vt:lpstr>3_Bayer x MC // June 2021</vt:lpstr>
      <vt:lpstr>1_Bayer x MC // June 2021</vt:lpstr>
      <vt:lpstr>4_Bayer2023</vt:lpstr>
      <vt:lpstr>1_Bayer2023</vt:lpstr>
      <vt:lpstr>1_Bayer2022</vt:lpstr>
      <vt:lpstr>2_Bayer2023</vt:lpstr>
      <vt:lpstr>3_Bayer2023</vt:lpstr>
      <vt:lpstr>2_Bayer2022</vt:lpstr>
      <vt:lpstr>5_Bayer2023</vt:lpstr>
      <vt:lpstr>3_Bayer2022</vt:lpstr>
      <vt:lpstr>6_Bayer2023</vt:lpstr>
      <vt:lpstr>Presentación de PowerPoint</vt:lpstr>
      <vt:lpstr>Presentación de PowerPoint</vt:lpstr>
      <vt:lpstr>Presentación de PowerPoint</vt:lpstr>
      <vt:lpstr>Competencia Offline</vt:lpstr>
      <vt:lpstr>Presentación de PowerPoint</vt:lpstr>
      <vt:lpstr>Presentación de PowerPoint</vt:lpstr>
      <vt:lpstr>Presentación de PowerPoint</vt:lpstr>
      <vt:lpstr>ROAD MAP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Lourdes Hernandez</dc:creator>
  <cp:lastModifiedBy>Microsoft Office User</cp:lastModifiedBy>
  <cp:revision>13</cp:revision>
  <dcterms:created xsi:type="dcterms:W3CDTF">2023-05-24T18:22:33Z</dcterms:created>
  <dcterms:modified xsi:type="dcterms:W3CDTF">2024-04-18T20:40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B94F34BE25844A86FA9DAE1C52FEF1</vt:lpwstr>
  </property>
  <property fmtid="{D5CDD505-2E9C-101B-9397-08002B2CF9AE}" pid="3" name="MediaServiceImageTags">
    <vt:lpwstr/>
  </property>
</Properties>
</file>